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55" r:id="rId1"/>
  </p:sldMasterIdLst>
  <p:notesMasterIdLst>
    <p:notesMasterId r:id="rId3"/>
  </p:notesMasterIdLst>
  <p:sldIdLst>
    <p:sldId id="256" r:id="rId2"/>
  </p:sldIdLst>
  <p:sldSz cx="6858000" cy="9144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426C"/>
    <a:srgbClr val="0E436D"/>
    <a:srgbClr val="356D9B"/>
    <a:srgbClr val="29557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5" d="100"/>
          <a:sy n="75" d="100"/>
        </p:scale>
        <p:origin x="-2290" y="638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file:///C:\Users\A.Tolykbekova\Downloads\&#1054;&#1073;&#1098;&#1077;&#1084;%20&#1087;&#1088;&#1086;&#1084;&#1099;&#1096;&#1083;&#1077;&#1085;&#1085;&#1086;&#1075;&#1086;%20&#1087;&#1088;&#1086;&#1080;&#1079;&#1074;&#1086;&#1076;&#1089;&#1090;&#1074;&#1072;%20&#1087;&#1086;%20&#1042;&#1069;&#1044;%20&#1074;%20&#1088;&#1072;&#1079;&#1088;&#1077;&#1079;&#1077;%20&#1088;&#1077;&#1075;&#1080;&#1086;&#1085;&#1086;&#1074;%20&#1056;&#1050;%20&#1079;&#1072;%20&#1086;&#1090;&#1095;&#1105;&#1090;&#1085;&#1099;&#1081;%20&#1087;&#1077;&#1088;&#1080;&#1086;&#1076;%202021%20&#1075;&#1086;&#1076;&#1072;-1%20(1)%20(1)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140"/>
      <c:depthPercent val="10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0772022288336597"/>
          <c:y val="0.1115243455613398"/>
          <c:w val="0.8324822341010325"/>
          <c:h val="0.75123137224184466"/>
        </c:manualLayout>
      </c:layout>
      <c:pie3DChart>
        <c:varyColors val="1"/>
        <c:ser>
          <c:idx val="0"/>
          <c:order val="0"/>
          <c:tx>
            <c:strRef>
              <c:f>Лист1!$A$2</c:f>
              <c:strCache>
                <c:ptCount val="1"/>
                <c:pt idx="0">
                  <c:v>Текстиль</c:v>
                </c:pt>
              </c:strCache>
            </c:strRef>
          </c:tx>
          <c:explosion val="6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96000"/>
                      <a:lumMod val="104000"/>
                    </a:schemeClr>
                  </a:gs>
                  <a:gs pos="100000">
                    <a:schemeClr val="accent1">
                      <a:shade val="84000"/>
                      <a:lumMod val="84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l"/>
              </a:scene3d>
              <a:sp3d>
                <a:bevelT w="25400" h="25400" prst="slope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391-4EDD-9432-5C648D268CE4}"/>
              </c:ext>
            </c:extLst>
          </c:dPt>
          <c:dPt>
            <c:idx val="1"/>
            <c:bubble3D val="0"/>
            <c:explosion val="8"/>
            <c:spPr>
              <a:gradFill rotWithShape="1">
                <a:gsLst>
                  <a:gs pos="0">
                    <a:schemeClr val="accent2">
                      <a:tint val="96000"/>
                      <a:lumMod val="104000"/>
                    </a:schemeClr>
                  </a:gs>
                  <a:gs pos="100000">
                    <a:schemeClr val="accent2">
                      <a:shade val="84000"/>
                      <a:lumMod val="84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l"/>
              </a:scene3d>
              <a:sp3d>
                <a:bevelT w="25400" h="25400" prst="slope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C391-4EDD-9432-5C648D268CE4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tint val="96000"/>
                      <a:lumMod val="104000"/>
                    </a:schemeClr>
                  </a:gs>
                  <a:gs pos="100000">
                    <a:schemeClr val="accent3">
                      <a:shade val="84000"/>
                      <a:lumMod val="84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0800" dist="38100" dir="5400000" rotWithShape="0">
                  <a:srgbClr val="000000">
                    <a:alpha val="60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l"/>
              </a:scene3d>
              <a:sp3d>
                <a:bevelT w="25400" h="25400" prst="slope"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391-4EDD-9432-5C648D268CE4}"/>
              </c:ext>
            </c:extLst>
          </c:dPt>
          <c:dLbls>
            <c:dLbl>
              <c:idx val="0"/>
              <c:layout>
                <c:manualLayout>
                  <c:x val="0.17112836618040445"/>
                  <c:y val="-0.15707146236211161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391-4EDD-9432-5C648D268CE4}"/>
                </c:ext>
              </c:extLst>
            </c:dLbl>
            <c:dLbl>
              <c:idx val="1"/>
              <c:layout>
                <c:manualLayout>
                  <c:x val="-0.17501764722995911"/>
                  <c:y val="7.853573118105577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391-4EDD-9432-5C648D268CE4}"/>
                </c:ext>
              </c:extLst>
            </c:dLbl>
            <c:dLbl>
              <c:idx val="2"/>
              <c:layout>
                <c:manualLayout>
                  <c:x val="-0.10501058833797546"/>
                  <c:y val="-0.20288397221772744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391-4EDD-9432-5C648D268CE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Текстиль</c:v>
                </c:pt>
                <c:pt idx="1">
                  <c:v>Одежда</c:v>
                </c:pt>
                <c:pt idx="2">
                  <c:v>Кожа и обувь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65.599999999999994</c:v>
                </c:pt>
                <c:pt idx="1">
                  <c:v>47.5</c:v>
                </c:pt>
                <c:pt idx="2">
                  <c:v>12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391-4EDD-9432-5C648D268CE4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841426496080545"/>
          <c:y val="1.9789748992403457E-2"/>
          <c:w val="0.67158573928258969"/>
          <c:h val="0.91228668473370167"/>
        </c:manualLayout>
      </c:layout>
      <c:barChart>
        <c:barDir val="bar"/>
        <c:grouping val="clustered"/>
        <c:varyColors val="0"/>
        <c:ser>
          <c:idx val="0"/>
          <c:order val="0"/>
          <c:spPr>
            <a:noFill/>
            <a:ln w="25400" cap="flat" cmpd="sng" algn="ctr">
              <a:solidFill>
                <a:schemeClr val="accent1"/>
              </a:solidFill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noFill/>
              <a:ln w="12700" cap="flat" cmpd="sng" algn="ctr">
                <a:solidFill>
                  <a:schemeClr val="accent1"/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48C-44AD-8FAA-2D9F510EC253}"/>
              </c:ext>
            </c:extLst>
          </c:dPt>
          <c:dPt>
            <c:idx val="1"/>
            <c:invertIfNegative val="0"/>
            <c:bubble3D val="0"/>
            <c:spPr>
              <a:noFill/>
              <a:ln w="12700" cap="flat" cmpd="sng" algn="ctr">
                <a:solidFill>
                  <a:schemeClr val="accent1"/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48C-44AD-8FAA-2D9F510EC253}"/>
              </c:ext>
            </c:extLst>
          </c:dPt>
          <c:dPt>
            <c:idx val="2"/>
            <c:invertIfNegative val="0"/>
            <c:bubble3D val="0"/>
            <c:spPr>
              <a:noFill/>
              <a:ln w="12700" cap="flat" cmpd="sng" algn="ctr">
                <a:solidFill>
                  <a:schemeClr val="accent1"/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48C-44AD-8FAA-2D9F510EC253}"/>
              </c:ext>
            </c:extLst>
          </c:dPt>
          <c:dPt>
            <c:idx val="3"/>
            <c:invertIfNegative val="0"/>
            <c:bubble3D val="0"/>
            <c:spPr>
              <a:noFill/>
              <a:ln w="12700" cap="flat" cmpd="sng" algn="ctr">
                <a:solidFill>
                  <a:schemeClr val="accent1"/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D48C-44AD-8FAA-2D9F510EC253}"/>
              </c:ext>
            </c:extLst>
          </c:dPt>
          <c:dPt>
            <c:idx val="4"/>
            <c:invertIfNegative val="0"/>
            <c:bubble3D val="0"/>
            <c:spPr>
              <a:noFill/>
              <a:ln w="12700" cap="flat" cmpd="sng" algn="ctr">
                <a:solidFill>
                  <a:schemeClr val="accent1"/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D48C-44AD-8FAA-2D9F510EC253}"/>
              </c:ext>
            </c:extLst>
          </c:dPt>
          <c:dPt>
            <c:idx val="5"/>
            <c:invertIfNegative val="0"/>
            <c:bubble3D val="0"/>
            <c:spPr>
              <a:noFill/>
              <a:ln w="12700" cap="flat" cmpd="sng" algn="ctr">
                <a:solidFill>
                  <a:schemeClr val="accent1"/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D48C-44AD-8FAA-2D9F510EC253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25400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D48C-44AD-8FAA-2D9F510EC253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25400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D48C-44AD-8FAA-2D9F510EC253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25400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D48C-44AD-8FAA-2D9F510EC253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2540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D48C-44AD-8FAA-2D9F510EC253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2540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D48C-44AD-8FAA-2D9F510EC253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2540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7-D48C-44AD-8FAA-2D9F510EC253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25400" cap="flat" cmpd="sng" algn="ctr">
                <a:solidFill>
                  <a:schemeClr val="accent2">
                    <a:lumMod val="60000"/>
                    <a:lumOff val="40000"/>
                  </a:schemeClr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D48C-44AD-8FAA-2D9F510EC253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25400" cap="flat" cmpd="sng" algn="ctr">
                <a:solidFill>
                  <a:schemeClr val="accent1">
                    <a:lumMod val="75000"/>
                  </a:schemeClr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B-D48C-44AD-8FAA-2D9F510EC253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25400" cap="flat" cmpd="sng" algn="ctr">
                <a:solidFill>
                  <a:schemeClr val="accent1">
                    <a:lumMod val="75000"/>
                  </a:schemeClr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D-D48C-44AD-8FAA-2D9F510EC253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25400" cap="flat" cmpd="sng" algn="ctr">
                <a:solidFill>
                  <a:schemeClr val="accent1">
                    <a:lumMod val="75000"/>
                  </a:schemeClr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F-D48C-44AD-8FAA-2D9F510EC253}"/>
              </c:ext>
            </c:extLst>
          </c:dPt>
          <c:dPt>
            <c:idx val="16"/>
            <c:invertIfNegative val="0"/>
            <c:bubble3D val="0"/>
            <c:spPr>
              <a:solidFill>
                <a:srgbClr val="FF0000"/>
              </a:solidFill>
              <a:ln w="25400" cap="flat" cmpd="sng" algn="ctr">
                <a:solidFill>
                  <a:srgbClr val="FF0000"/>
                </a:solidFill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1-D48C-44AD-8FAA-2D9F510EC253}"/>
              </c:ext>
            </c:extLst>
          </c:dPt>
          <c:dLbls>
            <c:dLbl>
              <c:idx val="0"/>
              <c:layout>
                <c:manualLayout>
                  <c:x val="-4.7496170292383073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8C-44AD-8FAA-2D9F510EC253}"/>
                </c:ext>
              </c:extLst>
            </c:dLbl>
            <c:dLbl>
              <c:idx val="1"/>
              <c:layout>
                <c:manualLayout>
                  <c:x val="-1.927846879259291E-4"/>
                  <c:y val="9.42563379037761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8C-44AD-8FAA-2D9F510EC253}"/>
                </c:ext>
              </c:extLst>
            </c:dLbl>
            <c:dLbl>
              <c:idx val="2"/>
              <c:layout>
                <c:manualLayout>
                  <c:x val="-1.5362682081645858E-3"/>
                  <c:y val="-1.7280128994167582E-1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48C-44AD-8FAA-2D9F510EC253}"/>
                </c:ext>
              </c:extLst>
            </c:dLbl>
            <c:dLbl>
              <c:idx val="3"/>
              <c:layout>
                <c:manualLayout>
                  <c:x val="-8.9239658490127965E-3"/>
                  <c:y val="8.6400644970837911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48C-44AD-8FAA-2D9F510EC253}"/>
                </c:ext>
              </c:extLst>
            </c:dLbl>
            <c:dLbl>
              <c:idx val="4"/>
              <c:layout>
                <c:manualLayout>
                  <c:x val="-5.3628899707785834E-3"/>
                  <c:y val="-8.6400644970837911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48C-44AD-8FAA-2D9F510EC253}"/>
                </c:ext>
              </c:extLst>
            </c:dLbl>
            <c:dLbl>
              <c:idx val="5"/>
              <c:layout>
                <c:manualLayout>
                  <c:x val="-3.30023998201759E-3"/>
                  <c:y val="8.6400644970837911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48C-44AD-8FAA-2D9F510EC253}"/>
                </c:ext>
              </c:extLst>
            </c:dLbl>
            <c:dLbl>
              <c:idx val="6"/>
              <c:layout>
                <c:manualLayout>
                  <c:x val="-7.4255399595396536E-3"/>
                  <c:y val="4.712816895188807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D48C-44AD-8FAA-2D9F510EC253}"/>
                </c:ext>
              </c:extLst>
            </c:dLbl>
            <c:dLbl>
              <c:idx val="7"/>
              <c:layout>
                <c:manualLayout>
                  <c:x val="2.8877099842653914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D48C-44AD-8FAA-2D9F510EC253}"/>
                </c:ext>
              </c:extLst>
            </c:dLbl>
            <c:dLbl>
              <c:idx val="8"/>
              <c:layout>
                <c:manualLayout>
                  <c:x val="-3.30023998201759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D48C-44AD-8FAA-2D9F510EC253}"/>
                </c:ext>
              </c:extLst>
            </c:dLbl>
            <c:dLbl>
              <c:idx val="9"/>
              <c:layout>
                <c:manualLayout>
                  <c:x val="-5.3628899707785834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D48C-44AD-8FAA-2D9F510EC253}"/>
                </c:ext>
              </c:extLst>
            </c:dLbl>
            <c:dLbl>
              <c:idx val="10"/>
              <c:layout>
                <c:manualLayout>
                  <c:x val="-3.30023998201759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D48C-44AD-8FAA-2D9F510EC253}"/>
                </c:ext>
              </c:extLst>
            </c:dLbl>
            <c:dLbl>
              <c:idx val="11"/>
              <c:layout>
                <c:manualLayout>
                  <c:x val="-5.3628899707785834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D48C-44AD-8FAA-2D9F510EC253}"/>
                </c:ext>
              </c:extLst>
            </c:dLbl>
            <c:dLbl>
              <c:idx val="12"/>
              <c:layout>
                <c:manualLayout>
                  <c:x val="-7.4255399595395772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D48C-44AD-8FAA-2D9F510EC253}"/>
                </c:ext>
              </c:extLst>
            </c:dLbl>
            <c:dLbl>
              <c:idx val="13"/>
              <c:layout>
                <c:manualLayout>
                  <c:x val="-7.5080459590900171E-3"/>
                  <c:y val="-9.4256337903776376E-3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100" b="1" i="1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dirty="0">
                        <a:solidFill>
                          <a:srgbClr val="FF0000"/>
                        </a:solidFill>
                      </a:rPr>
                      <a:t>9,2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B-D48C-44AD-8FAA-2D9F510EC253}"/>
                </c:ext>
              </c:extLst>
            </c:dLbl>
            <c:dLbl>
              <c:idx val="14"/>
              <c:layout>
                <c:manualLayout>
                  <c:x val="-8.4156119541447787E-3"/>
                  <c:y val="-9.425633790377615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1" u="none" strike="noStrike" kern="1200" baseline="0">
                      <a:solidFill>
                        <a:srgbClr val="FF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D48C-44AD-8FAA-2D9F510EC253}"/>
                </c:ext>
              </c:extLst>
            </c:dLbl>
            <c:dLbl>
              <c:idx val="15"/>
              <c:layout>
                <c:manualLayout>
                  <c:x val="-7.5080459590900171E-3"/>
                  <c:y val="-1.0800080621354739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1" u="none" strike="noStrike" kern="1200" baseline="0">
                      <a:solidFill>
                        <a:srgbClr val="FF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D48C-44AD-8FAA-2D9F510EC253}"/>
                </c:ext>
              </c:extLst>
            </c:dLbl>
            <c:dLbl>
              <c:idx val="16"/>
              <c:layout>
                <c:manualLayout>
                  <c:x val="-7.5080459590901689E-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1" u="none" strike="noStrike" kern="1200" baseline="0">
                      <a:solidFill>
                        <a:srgbClr val="FF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D48C-44AD-8FAA-2D9F510EC25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1" u="none" strike="noStrike" kern="1200" baseline="0">
                    <a:solidFill>
                      <a:schemeClr val="bg1">
                        <a:lumMod val="8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3!$N$190:$N$206</c:f>
              <c:strCache>
                <c:ptCount val="17"/>
                <c:pt idx="0">
                  <c:v>Кызылординская</c:v>
                </c:pt>
                <c:pt idx="1">
                  <c:v>ЗКО</c:v>
                </c:pt>
                <c:pt idx="2">
                  <c:v>Костанайская</c:v>
                </c:pt>
                <c:pt idx="3">
                  <c:v>Мангистауская</c:v>
                </c:pt>
                <c:pt idx="4">
                  <c:v>СКО</c:v>
                </c:pt>
                <c:pt idx="5">
                  <c:v>Актюбинская</c:v>
                </c:pt>
                <c:pt idx="6">
                  <c:v>Атырауская</c:v>
                </c:pt>
                <c:pt idx="7">
                  <c:v>Жамбылская</c:v>
                </c:pt>
                <c:pt idx="8">
                  <c:v>г. Нур-Султан</c:v>
                </c:pt>
                <c:pt idx="9">
                  <c:v>Карагандинская</c:v>
                </c:pt>
                <c:pt idx="10">
                  <c:v>Акмолинская</c:v>
                </c:pt>
                <c:pt idx="11">
                  <c:v>ВКО</c:v>
                </c:pt>
                <c:pt idx="12">
                  <c:v>Павлодарская</c:v>
                </c:pt>
                <c:pt idx="13">
                  <c:v>г. Алматы</c:v>
                </c:pt>
                <c:pt idx="14">
                  <c:v>Туркестанская</c:v>
                </c:pt>
                <c:pt idx="15">
                  <c:v>Алматинская</c:v>
                </c:pt>
                <c:pt idx="16">
                  <c:v>г.Шымкент</c:v>
                </c:pt>
              </c:strCache>
            </c:strRef>
          </c:cat>
          <c:val>
            <c:numRef>
              <c:f>Лист3!$O$190:$O$206</c:f>
              <c:numCache>
                <c:formatCode>0.0</c:formatCode>
                <c:ptCount val="17"/>
                <c:pt idx="0">
                  <c:v>0.874197</c:v>
                </c:pt>
                <c:pt idx="1">
                  <c:v>0.932172</c:v>
                </c:pt>
                <c:pt idx="2">
                  <c:v>2.1019789999999996</c:v>
                </c:pt>
                <c:pt idx="3">
                  <c:v>2.476486</c:v>
                </c:pt>
                <c:pt idx="4">
                  <c:v>2.6363560000000001</c:v>
                </c:pt>
                <c:pt idx="5">
                  <c:v>2.7176689999999999</c:v>
                </c:pt>
                <c:pt idx="6">
                  <c:v>3.9391539999999998</c:v>
                </c:pt>
                <c:pt idx="7">
                  <c:v>4.0665639999999996</c:v>
                </c:pt>
                <c:pt idx="8">
                  <c:v>4.1542299999999992</c:v>
                </c:pt>
                <c:pt idx="9">
                  <c:v>6.3290810000000004</c:v>
                </c:pt>
                <c:pt idx="10">
                  <c:v>7.1314459999999995</c:v>
                </c:pt>
                <c:pt idx="11">
                  <c:v>7.2681689999999994</c:v>
                </c:pt>
                <c:pt idx="12">
                  <c:v>7.6017529999999995</c:v>
                </c:pt>
                <c:pt idx="13">
                  <c:v>13.420341000000001</c:v>
                </c:pt>
                <c:pt idx="14">
                  <c:v>14.996138999999999</c:v>
                </c:pt>
                <c:pt idx="15">
                  <c:v>17.735502</c:v>
                </c:pt>
                <c:pt idx="16">
                  <c:v>27.151129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2-D48C-44AD-8FAA-2D9F510EC253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27"/>
        <c:overlap val="-48"/>
        <c:axId val="211036032"/>
        <c:axId val="211037568"/>
      </c:barChart>
      <c:catAx>
        <c:axId val="21103603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1037568"/>
        <c:crosses val="autoZero"/>
        <c:auto val="1"/>
        <c:lblAlgn val="ctr"/>
        <c:lblOffset val="100"/>
        <c:noMultiLvlLbl val="0"/>
      </c:catAx>
      <c:valAx>
        <c:axId val="211037568"/>
        <c:scaling>
          <c:orientation val="minMax"/>
        </c:scaling>
        <c:delete val="1"/>
        <c:axPos val="b"/>
        <c:numFmt formatCode="0.0" sourceLinked="1"/>
        <c:majorTickMark val="none"/>
        <c:minorTickMark val="none"/>
        <c:tickLblPos val="nextTo"/>
        <c:crossAx val="2110360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2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35000"/>
          <a:lumOff val="65000"/>
        </a:schemeClr>
      </a:solidFill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/>
    <cs:fontRef idx="minor">
      <a:schemeClr val="dk1"/>
    </cs:fontRef>
    <cs:spPr>
      <a:noFill/>
      <a:ln w="25400" cap="flat" cmpd="sng" algn="ctr">
        <a:solidFill>
          <a:schemeClr val="phClr"/>
        </a:solidFill>
        <a:miter lim="800000"/>
      </a:ln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flat" cmpd="sng" algn="ctr">
        <a:solidFill>
          <a:schemeClr val="phClr"/>
        </a:solidFill>
        <a:miter lim="800000"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1"/>
    <cs:effectRef idx="0"/>
    <cs:fontRef idx="minor">
      <a:schemeClr val="tx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0" kern="1200" cap="none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DB7DB0-3C48-41DA-8224-2B8784E685CC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143125" y="685800"/>
            <a:ext cx="25717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B64E37-B2CB-4E16-B22C-2D87157AA9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10703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64E37-B2CB-4E16-B22C-2D87157AA9C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7598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4485" y="794692"/>
            <a:ext cx="5632880" cy="4285309"/>
          </a:xfrm>
        </p:spPr>
        <p:txBody>
          <a:bodyPr anchor="b">
            <a:normAutofit/>
          </a:bodyPr>
          <a:lstStyle>
            <a:lvl1pPr algn="ctr">
              <a:defRPr sz="3000">
                <a:effectLst>
                  <a:glow rad="38100">
                    <a:schemeClr val="bg1">
                      <a:lumMod val="65000"/>
                      <a:lumOff val="35000"/>
                      <a:alpha val="50000"/>
                    </a:schemeClr>
                  </a:glow>
                  <a:outerShdw blurRad="28575" dist="31750" dir="132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4485" y="5181600"/>
            <a:ext cx="5632880" cy="2958811"/>
          </a:xfrm>
        </p:spPr>
        <p:txBody>
          <a:bodyPr anchor="t">
            <a:normAutofit/>
          </a:bodyPr>
          <a:lstStyle>
            <a:lvl1pPr marL="0" indent="0" algn="ctr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36401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8258" y="5836647"/>
            <a:ext cx="5559755" cy="1210007"/>
          </a:xfrm>
        </p:spPr>
        <p:txBody>
          <a:bodyPr anchor="b">
            <a:normAutofit/>
          </a:bodyPr>
          <a:lstStyle>
            <a:lvl1pPr algn="l">
              <a:defRPr sz="15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88259" y="1328251"/>
            <a:ext cx="5476070" cy="3974835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8258" y="7046653"/>
            <a:ext cx="5559755" cy="1089427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88258" y="8241793"/>
            <a:ext cx="4002959" cy="486833"/>
          </a:xfr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38847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794691"/>
            <a:ext cx="5633606" cy="4183709"/>
          </a:xfrm>
        </p:spPr>
        <p:txBody>
          <a:bodyPr anchor="ctr">
            <a:normAutofit/>
          </a:bodyPr>
          <a:lstStyle>
            <a:lvl1pPr algn="l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5791200"/>
            <a:ext cx="5633606" cy="2344880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92998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437864" y="1147035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6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916617" y="3981231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6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707" y="794691"/>
            <a:ext cx="5230586" cy="4058772"/>
          </a:xfrm>
        </p:spPr>
        <p:txBody>
          <a:bodyPr anchor="ctr">
            <a:normAutofit/>
          </a:bodyPr>
          <a:lstStyle>
            <a:lvl1pPr algn="l">
              <a:defRPr sz="21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942327" y="4867475"/>
            <a:ext cx="4973346" cy="508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050"/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1" y="6188275"/>
            <a:ext cx="5633605" cy="1930400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99808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4804755"/>
            <a:ext cx="5634254" cy="1958400"/>
          </a:xfrm>
        </p:spPr>
        <p:txBody>
          <a:bodyPr anchor="b">
            <a:normAutofit/>
          </a:bodyPr>
          <a:lstStyle>
            <a:lvl1pPr algn="l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5762" y="6763155"/>
            <a:ext cx="5634254" cy="1372925"/>
          </a:xfrm>
        </p:spPr>
        <p:txBody>
          <a:bodyPr anchor="t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67721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437864" y="1005135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6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915668" y="3839331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6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707" y="794691"/>
            <a:ext cx="5230586" cy="3792492"/>
          </a:xfrm>
        </p:spPr>
        <p:txBody>
          <a:bodyPr anchor="ctr">
            <a:normAutofit/>
          </a:bodyPr>
          <a:lstStyle>
            <a:lvl1pPr algn="l">
              <a:defRPr sz="21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3760" y="5181600"/>
            <a:ext cx="5634254" cy="140488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15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6586483"/>
            <a:ext cx="5634254" cy="1549597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89463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794691"/>
            <a:ext cx="5633605" cy="3675711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100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3760" y="4910589"/>
            <a:ext cx="5633605" cy="1399044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18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6309632"/>
            <a:ext cx="5633604" cy="1826448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78580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13761" y="794691"/>
            <a:ext cx="5633605" cy="174997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92495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13781" y="794691"/>
            <a:ext cx="1333584" cy="734138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3761" y="794691"/>
            <a:ext cx="4218103" cy="7341389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37974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8621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485" y="4360932"/>
            <a:ext cx="5632880" cy="2431073"/>
          </a:xfrm>
        </p:spPr>
        <p:txBody>
          <a:bodyPr anchor="b">
            <a:normAutofit/>
          </a:bodyPr>
          <a:lstStyle>
            <a:lvl1pPr algn="r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4485" y="6805080"/>
            <a:ext cx="5632880" cy="1331000"/>
          </a:xfrm>
        </p:spPr>
        <p:txBody>
          <a:bodyPr anchor="t">
            <a:normAutofit/>
          </a:bodyPr>
          <a:lstStyle>
            <a:lvl1pPr marL="0" indent="0" algn="r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13518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761" y="2747865"/>
            <a:ext cx="2763805" cy="537510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0436" y="2747864"/>
            <a:ext cx="2766929" cy="5375107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9585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9730" y="2747864"/>
            <a:ext cx="2547835" cy="978128"/>
          </a:xfrm>
        </p:spPr>
        <p:txBody>
          <a:bodyPr anchor="b">
            <a:noAutofit/>
          </a:bodyPr>
          <a:lstStyle>
            <a:lvl1pPr marL="0" indent="0">
              <a:buNone/>
              <a:defRPr sz="16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3761" y="3714704"/>
            <a:ext cx="2763805" cy="4421377"/>
          </a:xfrm>
        </p:spPr>
        <p:txBody>
          <a:bodyPr anchor="t"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682612" y="2747865"/>
            <a:ext cx="2564753" cy="966839"/>
          </a:xfrm>
        </p:spPr>
        <p:txBody>
          <a:bodyPr anchor="b">
            <a:noAutofit/>
          </a:bodyPr>
          <a:lstStyle>
            <a:lvl1pPr marL="0" indent="0">
              <a:buNone/>
              <a:defRPr sz="16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74" y="3714704"/>
            <a:ext cx="2776140" cy="4421377"/>
          </a:xfrm>
        </p:spPr>
        <p:txBody>
          <a:bodyPr anchor="t"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17733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95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86318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3015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1" y="2339904"/>
            <a:ext cx="2047142" cy="1828800"/>
          </a:xfrm>
        </p:spPr>
        <p:txBody>
          <a:bodyPr anchor="b">
            <a:normAutofit/>
          </a:bodyPr>
          <a:lstStyle>
            <a:lvl1pPr algn="l">
              <a:defRPr sz="165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71642" y="794691"/>
            <a:ext cx="3375723" cy="7341388"/>
          </a:xfrm>
        </p:spPr>
        <p:txBody>
          <a:bodyPr anchor="ctr"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3761" y="4168704"/>
            <a:ext cx="2047142" cy="243840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6591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1" y="2531025"/>
            <a:ext cx="3317852" cy="1828800"/>
          </a:xfrm>
        </p:spPr>
        <p:txBody>
          <a:bodyPr anchor="b">
            <a:normAutofit/>
          </a:bodyPr>
          <a:lstStyle>
            <a:lvl1pPr algn="l">
              <a:defRPr sz="1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136581" y="-24384"/>
            <a:ext cx="1875047" cy="9204960"/>
          </a:xfr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080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2989" y="4359825"/>
            <a:ext cx="3317852" cy="243840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392737" y="8241793"/>
            <a:ext cx="538877" cy="486833"/>
          </a:xfrm>
        </p:spPr>
        <p:txBody>
          <a:bodyPr/>
          <a:lstStyle/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13761" y="8241793"/>
            <a:ext cx="2778975" cy="486833"/>
          </a:xfr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018196" y="8241792"/>
            <a:ext cx="228890" cy="439000"/>
          </a:xfr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8979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3761" y="794691"/>
            <a:ext cx="5633605" cy="17499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1" y="2747864"/>
            <a:ext cx="5633604" cy="53882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13781" y="8237681"/>
            <a:ext cx="965598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B4C71EC6-210F-42DE-9C53-41977AD35B3D}" type="datetimeFigureOut">
              <a:rPr lang="ru-RU" smtClean="0"/>
              <a:t>08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3761" y="8237681"/>
            <a:ext cx="4218103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937902" y="8237681"/>
            <a:ext cx="310112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2913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  <p:sldLayoutId id="2147483968" r:id="rId13"/>
    <p:sldLayoutId id="2147483969" r:id="rId14"/>
    <p:sldLayoutId id="2147483970" r:id="rId15"/>
    <p:sldLayoutId id="2147483971" r:id="rId16"/>
    <p:sldLayoutId id="2147483972" r:id="rId17"/>
  </p:sldLayoutIdLst>
  <p:txStyles>
    <p:titleStyle>
      <a:lvl1pPr algn="l" defTabSz="342900" rtl="0" eaLnBrk="1" latinLnBrk="0" hangingPunct="1">
        <a:spcBef>
          <a:spcPct val="0"/>
        </a:spcBef>
        <a:buNone/>
        <a:defRPr sz="2100" kern="1200" cap="all">
          <a:ln w="3175" cmpd="sng">
            <a:noFill/>
          </a:ln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65000"/>
                <a:lumOff val="35000"/>
                <a:alpha val="40000"/>
              </a:schemeClr>
            </a:glow>
            <a:outerShdw blurRad="28575" dist="38100" dir="1404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143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3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2pPr>
      <a:lvl3pPr marL="9001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0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3pPr>
      <a:lvl4pPr marL="1157288" indent="-128588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0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4pPr>
      <a:lvl5pPr marL="1500188" indent="-128588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9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0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microsoft.com/office/2007/relationships/hdphoto" Target="../media/hdphoto4.wdp"/><Relationship Id="rId18" Type="http://schemas.openxmlformats.org/officeDocument/2006/relationships/chart" Target="../charts/chart2.xm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12" Type="http://schemas.openxmlformats.org/officeDocument/2006/relationships/image" Target="../media/image6.png"/><Relationship Id="rId17" Type="http://schemas.microsoft.com/office/2007/relationships/hdphoto" Target="../media/hdphoto6.wdp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8.png"/><Relationship Id="rId1" Type="http://schemas.openxmlformats.org/officeDocument/2006/relationships/tags" Target="../tags/tag1.xml"/><Relationship Id="rId6" Type="http://schemas.microsoft.com/office/2007/relationships/hdphoto" Target="../media/hdphoto1.wdp"/><Relationship Id="rId11" Type="http://schemas.openxmlformats.org/officeDocument/2006/relationships/image" Target="../media/image5.png"/><Relationship Id="rId5" Type="http://schemas.openxmlformats.org/officeDocument/2006/relationships/image" Target="../media/image2.png"/><Relationship Id="rId15" Type="http://schemas.microsoft.com/office/2007/relationships/hdphoto" Target="../media/hdphoto5.wdp"/><Relationship Id="rId10" Type="http://schemas.microsoft.com/office/2007/relationships/hdphoto" Target="../media/hdphoto3.wdp"/><Relationship Id="rId4" Type="http://schemas.openxmlformats.org/officeDocument/2006/relationships/chart" Target="../charts/chart1.xml"/><Relationship Id="rId9" Type="http://schemas.openxmlformats.org/officeDocument/2006/relationships/image" Target="../media/image4.png"/><Relationship Id="rId1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42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Group 25"/>
          <p:cNvGrpSpPr>
            <a:grpSpLocks/>
          </p:cNvGrpSpPr>
          <p:nvPr/>
        </p:nvGrpSpPr>
        <p:grpSpPr bwMode="auto">
          <a:xfrm>
            <a:off x="3440550" y="6561855"/>
            <a:ext cx="2813996" cy="1573326"/>
            <a:chOff x="323528" y="1341312"/>
            <a:chExt cx="8104631" cy="4896000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73" name="Freeform 43"/>
            <p:cNvSpPr>
              <a:spLocks/>
            </p:cNvSpPr>
            <p:nvPr/>
          </p:nvSpPr>
          <p:spPr bwMode="auto">
            <a:xfrm>
              <a:off x="4907951" y="4439331"/>
              <a:ext cx="1388327" cy="1228907"/>
            </a:xfrm>
            <a:custGeom>
              <a:avLst/>
              <a:gdLst/>
              <a:ahLst/>
              <a:cxnLst>
                <a:cxn ang="0">
                  <a:pos x="6" y="56"/>
                </a:cxn>
                <a:cxn ang="0">
                  <a:pos x="22" y="84"/>
                </a:cxn>
                <a:cxn ang="0">
                  <a:pos x="34" y="123"/>
                </a:cxn>
                <a:cxn ang="0">
                  <a:pos x="56" y="162"/>
                </a:cxn>
                <a:cxn ang="0">
                  <a:pos x="73" y="224"/>
                </a:cxn>
                <a:cxn ang="0">
                  <a:pos x="84" y="269"/>
                </a:cxn>
                <a:cxn ang="0">
                  <a:pos x="95" y="314"/>
                </a:cxn>
                <a:cxn ang="0">
                  <a:pos x="95" y="359"/>
                </a:cxn>
                <a:cxn ang="0">
                  <a:pos x="95" y="409"/>
                </a:cxn>
                <a:cxn ang="0">
                  <a:pos x="78" y="454"/>
                </a:cxn>
                <a:cxn ang="0">
                  <a:pos x="62" y="493"/>
                </a:cxn>
                <a:cxn ang="0">
                  <a:pos x="78" y="515"/>
                </a:cxn>
                <a:cxn ang="0">
                  <a:pos x="106" y="538"/>
                </a:cxn>
                <a:cxn ang="0">
                  <a:pos x="129" y="555"/>
                </a:cxn>
                <a:cxn ang="0">
                  <a:pos x="145" y="577"/>
                </a:cxn>
                <a:cxn ang="0">
                  <a:pos x="157" y="600"/>
                </a:cxn>
                <a:cxn ang="0">
                  <a:pos x="168" y="633"/>
                </a:cxn>
                <a:cxn ang="0">
                  <a:pos x="179" y="667"/>
                </a:cxn>
                <a:cxn ang="0">
                  <a:pos x="196" y="678"/>
                </a:cxn>
                <a:cxn ang="0">
                  <a:pos x="218" y="689"/>
                </a:cxn>
                <a:cxn ang="0">
                  <a:pos x="229" y="695"/>
                </a:cxn>
                <a:cxn ang="0">
                  <a:pos x="241" y="717"/>
                </a:cxn>
                <a:cxn ang="0">
                  <a:pos x="246" y="734"/>
                </a:cxn>
                <a:cxn ang="0">
                  <a:pos x="325" y="555"/>
                </a:cxn>
                <a:cxn ang="0">
                  <a:pos x="631" y="510"/>
                </a:cxn>
                <a:cxn ang="0">
                  <a:pos x="804" y="470"/>
                </a:cxn>
                <a:cxn ang="0">
                  <a:pos x="884" y="521"/>
                </a:cxn>
                <a:cxn ang="0">
                  <a:pos x="884" y="487"/>
                </a:cxn>
                <a:cxn ang="0">
                  <a:pos x="867" y="459"/>
                </a:cxn>
                <a:cxn ang="0">
                  <a:pos x="856" y="437"/>
                </a:cxn>
                <a:cxn ang="0">
                  <a:pos x="845" y="398"/>
                </a:cxn>
                <a:cxn ang="0">
                  <a:pos x="822" y="342"/>
                </a:cxn>
                <a:cxn ang="0">
                  <a:pos x="817" y="319"/>
                </a:cxn>
                <a:cxn ang="0">
                  <a:pos x="794" y="303"/>
                </a:cxn>
                <a:cxn ang="0">
                  <a:pos x="778" y="297"/>
                </a:cxn>
                <a:cxn ang="0">
                  <a:pos x="739" y="286"/>
                </a:cxn>
                <a:cxn ang="0">
                  <a:pos x="694" y="224"/>
                </a:cxn>
                <a:cxn ang="0">
                  <a:pos x="660" y="179"/>
                </a:cxn>
                <a:cxn ang="0">
                  <a:pos x="638" y="146"/>
                </a:cxn>
                <a:cxn ang="0">
                  <a:pos x="627" y="118"/>
                </a:cxn>
                <a:cxn ang="0">
                  <a:pos x="621" y="84"/>
                </a:cxn>
                <a:cxn ang="0">
                  <a:pos x="615" y="50"/>
                </a:cxn>
                <a:cxn ang="0">
                  <a:pos x="615" y="11"/>
                </a:cxn>
                <a:cxn ang="0">
                  <a:pos x="537" y="11"/>
                </a:cxn>
                <a:cxn ang="0">
                  <a:pos x="431" y="22"/>
                </a:cxn>
                <a:cxn ang="0">
                  <a:pos x="313" y="34"/>
                </a:cxn>
                <a:cxn ang="0">
                  <a:pos x="201" y="39"/>
                </a:cxn>
                <a:cxn ang="0">
                  <a:pos x="78" y="39"/>
                </a:cxn>
              </a:cxnLst>
              <a:rect l="0" t="0" r="r" b="b"/>
              <a:pathLst>
                <a:path w="884" h="734">
                  <a:moveTo>
                    <a:pt x="0" y="39"/>
                  </a:moveTo>
                  <a:lnTo>
                    <a:pt x="0" y="45"/>
                  </a:lnTo>
                  <a:lnTo>
                    <a:pt x="6" y="56"/>
                  </a:lnTo>
                  <a:lnTo>
                    <a:pt x="11" y="62"/>
                  </a:lnTo>
                  <a:lnTo>
                    <a:pt x="17" y="73"/>
                  </a:lnTo>
                  <a:lnTo>
                    <a:pt x="22" y="84"/>
                  </a:lnTo>
                  <a:lnTo>
                    <a:pt x="28" y="101"/>
                  </a:lnTo>
                  <a:lnTo>
                    <a:pt x="34" y="112"/>
                  </a:lnTo>
                  <a:lnTo>
                    <a:pt x="34" y="123"/>
                  </a:lnTo>
                  <a:lnTo>
                    <a:pt x="39" y="140"/>
                  </a:lnTo>
                  <a:lnTo>
                    <a:pt x="50" y="151"/>
                  </a:lnTo>
                  <a:lnTo>
                    <a:pt x="56" y="162"/>
                  </a:lnTo>
                  <a:lnTo>
                    <a:pt x="67" y="196"/>
                  </a:lnTo>
                  <a:lnTo>
                    <a:pt x="67" y="207"/>
                  </a:lnTo>
                  <a:lnTo>
                    <a:pt x="73" y="224"/>
                  </a:lnTo>
                  <a:lnTo>
                    <a:pt x="78" y="241"/>
                  </a:lnTo>
                  <a:lnTo>
                    <a:pt x="78" y="252"/>
                  </a:lnTo>
                  <a:lnTo>
                    <a:pt x="84" y="269"/>
                  </a:lnTo>
                  <a:lnTo>
                    <a:pt x="84" y="286"/>
                  </a:lnTo>
                  <a:lnTo>
                    <a:pt x="95" y="303"/>
                  </a:lnTo>
                  <a:lnTo>
                    <a:pt x="95" y="314"/>
                  </a:lnTo>
                  <a:lnTo>
                    <a:pt x="95" y="331"/>
                  </a:lnTo>
                  <a:lnTo>
                    <a:pt x="95" y="347"/>
                  </a:lnTo>
                  <a:lnTo>
                    <a:pt x="95" y="359"/>
                  </a:lnTo>
                  <a:lnTo>
                    <a:pt x="95" y="381"/>
                  </a:lnTo>
                  <a:lnTo>
                    <a:pt x="95" y="392"/>
                  </a:lnTo>
                  <a:lnTo>
                    <a:pt x="95" y="409"/>
                  </a:lnTo>
                  <a:lnTo>
                    <a:pt x="84" y="426"/>
                  </a:lnTo>
                  <a:lnTo>
                    <a:pt x="84" y="437"/>
                  </a:lnTo>
                  <a:lnTo>
                    <a:pt x="78" y="454"/>
                  </a:lnTo>
                  <a:lnTo>
                    <a:pt x="73" y="465"/>
                  </a:lnTo>
                  <a:lnTo>
                    <a:pt x="73" y="482"/>
                  </a:lnTo>
                  <a:lnTo>
                    <a:pt x="62" y="493"/>
                  </a:lnTo>
                  <a:lnTo>
                    <a:pt x="67" y="499"/>
                  </a:lnTo>
                  <a:lnTo>
                    <a:pt x="73" y="504"/>
                  </a:lnTo>
                  <a:lnTo>
                    <a:pt x="78" y="515"/>
                  </a:lnTo>
                  <a:lnTo>
                    <a:pt x="84" y="521"/>
                  </a:lnTo>
                  <a:lnTo>
                    <a:pt x="95" y="527"/>
                  </a:lnTo>
                  <a:lnTo>
                    <a:pt x="106" y="538"/>
                  </a:lnTo>
                  <a:lnTo>
                    <a:pt x="117" y="543"/>
                  </a:lnTo>
                  <a:lnTo>
                    <a:pt x="123" y="549"/>
                  </a:lnTo>
                  <a:lnTo>
                    <a:pt x="129" y="555"/>
                  </a:lnTo>
                  <a:lnTo>
                    <a:pt x="134" y="566"/>
                  </a:lnTo>
                  <a:lnTo>
                    <a:pt x="145" y="572"/>
                  </a:lnTo>
                  <a:lnTo>
                    <a:pt x="145" y="577"/>
                  </a:lnTo>
                  <a:lnTo>
                    <a:pt x="151" y="583"/>
                  </a:lnTo>
                  <a:lnTo>
                    <a:pt x="151" y="588"/>
                  </a:lnTo>
                  <a:lnTo>
                    <a:pt x="157" y="600"/>
                  </a:lnTo>
                  <a:lnTo>
                    <a:pt x="162" y="616"/>
                  </a:lnTo>
                  <a:lnTo>
                    <a:pt x="162" y="622"/>
                  </a:lnTo>
                  <a:lnTo>
                    <a:pt x="168" y="633"/>
                  </a:lnTo>
                  <a:lnTo>
                    <a:pt x="173" y="644"/>
                  </a:lnTo>
                  <a:lnTo>
                    <a:pt x="173" y="650"/>
                  </a:lnTo>
                  <a:lnTo>
                    <a:pt x="179" y="667"/>
                  </a:lnTo>
                  <a:lnTo>
                    <a:pt x="179" y="672"/>
                  </a:lnTo>
                  <a:lnTo>
                    <a:pt x="190" y="672"/>
                  </a:lnTo>
                  <a:lnTo>
                    <a:pt x="196" y="678"/>
                  </a:lnTo>
                  <a:lnTo>
                    <a:pt x="201" y="678"/>
                  </a:lnTo>
                  <a:lnTo>
                    <a:pt x="207" y="684"/>
                  </a:lnTo>
                  <a:lnTo>
                    <a:pt x="218" y="689"/>
                  </a:lnTo>
                  <a:lnTo>
                    <a:pt x="224" y="689"/>
                  </a:lnTo>
                  <a:lnTo>
                    <a:pt x="224" y="695"/>
                  </a:lnTo>
                  <a:lnTo>
                    <a:pt x="229" y="695"/>
                  </a:lnTo>
                  <a:lnTo>
                    <a:pt x="229" y="706"/>
                  </a:lnTo>
                  <a:lnTo>
                    <a:pt x="241" y="712"/>
                  </a:lnTo>
                  <a:lnTo>
                    <a:pt x="241" y="717"/>
                  </a:lnTo>
                  <a:lnTo>
                    <a:pt x="246" y="723"/>
                  </a:lnTo>
                  <a:lnTo>
                    <a:pt x="246" y="728"/>
                  </a:lnTo>
                  <a:lnTo>
                    <a:pt x="246" y="734"/>
                  </a:lnTo>
                  <a:lnTo>
                    <a:pt x="246" y="734"/>
                  </a:lnTo>
                  <a:lnTo>
                    <a:pt x="252" y="734"/>
                  </a:lnTo>
                  <a:cubicBezTo>
                    <a:pt x="265" y="704"/>
                    <a:pt x="206" y="594"/>
                    <a:pt x="325" y="555"/>
                  </a:cubicBezTo>
                  <a:cubicBezTo>
                    <a:pt x="444" y="516"/>
                    <a:pt x="541" y="650"/>
                    <a:pt x="593" y="628"/>
                  </a:cubicBezTo>
                  <a:cubicBezTo>
                    <a:pt x="643" y="630"/>
                    <a:pt x="619" y="588"/>
                    <a:pt x="625" y="568"/>
                  </a:cubicBezTo>
                  <a:cubicBezTo>
                    <a:pt x="631" y="548"/>
                    <a:pt x="620" y="531"/>
                    <a:pt x="631" y="510"/>
                  </a:cubicBezTo>
                  <a:cubicBezTo>
                    <a:pt x="642" y="489"/>
                    <a:pt x="672" y="457"/>
                    <a:pt x="692" y="445"/>
                  </a:cubicBezTo>
                  <a:cubicBezTo>
                    <a:pt x="712" y="433"/>
                    <a:pt x="722" y="426"/>
                    <a:pt x="754" y="440"/>
                  </a:cubicBezTo>
                  <a:cubicBezTo>
                    <a:pt x="773" y="444"/>
                    <a:pt x="782" y="455"/>
                    <a:pt x="804" y="470"/>
                  </a:cubicBezTo>
                  <a:cubicBezTo>
                    <a:pt x="826" y="485"/>
                    <a:pt x="871" y="517"/>
                    <a:pt x="884" y="527"/>
                  </a:cubicBezTo>
                  <a:lnTo>
                    <a:pt x="884" y="527"/>
                  </a:lnTo>
                  <a:lnTo>
                    <a:pt x="884" y="521"/>
                  </a:lnTo>
                  <a:lnTo>
                    <a:pt x="884" y="504"/>
                  </a:lnTo>
                  <a:lnTo>
                    <a:pt x="884" y="493"/>
                  </a:lnTo>
                  <a:lnTo>
                    <a:pt x="884" y="487"/>
                  </a:lnTo>
                  <a:lnTo>
                    <a:pt x="878" y="482"/>
                  </a:lnTo>
                  <a:lnTo>
                    <a:pt x="873" y="465"/>
                  </a:lnTo>
                  <a:lnTo>
                    <a:pt x="867" y="459"/>
                  </a:lnTo>
                  <a:lnTo>
                    <a:pt x="867" y="454"/>
                  </a:lnTo>
                  <a:lnTo>
                    <a:pt x="862" y="448"/>
                  </a:lnTo>
                  <a:lnTo>
                    <a:pt x="856" y="437"/>
                  </a:lnTo>
                  <a:lnTo>
                    <a:pt x="856" y="431"/>
                  </a:lnTo>
                  <a:lnTo>
                    <a:pt x="850" y="415"/>
                  </a:lnTo>
                  <a:lnTo>
                    <a:pt x="845" y="398"/>
                  </a:lnTo>
                  <a:lnTo>
                    <a:pt x="834" y="381"/>
                  </a:lnTo>
                  <a:lnTo>
                    <a:pt x="828" y="359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17" y="331"/>
                  </a:lnTo>
                  <a:lnTo>
                    <a:pt x="817" y="319"/>
                  </a:lnTo>
                  <a:lnTo>
                    <a:pt x="811" y="314"/>
                  </a:lnTo>
                  <a:lnTo>
                    <a:pt x="806" y="308"/>
                  </a:lnTo>
                  <a:lnTo>
                    <a:pt x="794" y="303"/>
                  </a:lnTo>
                  <a:lnTo>
                    <a:pt x="789" y="303"/>
                  </a:lnTo>
                  <a:lnTo>
                    <a:pt x="783" y="297"/>
                  </a:lnTo>
                  <a:lnTo>
                    <a:pt x="778" y="297"/>
                  </a:lnTo>
                  <a:lnTo>
                    <a:pt x="767" y="291"/>
                  </a:lnTo>
                  <a:lnTo>
                    <a:pt x="755" y="291"/>
                  </a:lnTo>
                  <a:lnTo>
                    <a:pt x="739" y="286"/>
                  </a:lnTo>
                  <a:lnTo>
                    <a:pt x="727" y="269"/>
                  </a:lnTo>
                  <a:lnTo>
                    <a:pt x="716" y="258"/>
                  </a:lnTo>
                  <a:lnTo>
                    <a:pt x="694" y="224"/>
                  </a:lnTo>
                  <a:lnTo>
                    <a:pt x="683" y="213"/>
                  </a:lnTo>
                  <a:lnTo>
                    <a:pt x="671" y="202"/>
                  </a:lnTo>
                  <a:lnTo>
                    <a:pt x="660" y="179"/>
                  </a:lnTo>
                  <a:lnTo>
                    <a:pt x="649" y="168"/>
                  </a:lnTo>
                  <a:lnTo>
                    <a:pt x="638" y="151"/>
                  </a:lnTo>
                  <a:lnTo>
                    <a:pt x="638" y="146"/>
                  </a:lnTo>
                  <a:lnTo>
                    <a:pt x="632" y="129"/>
                  </a:lnTo>
                  <a:lnTo>
                    <a:pt x="632" y="123"/>
                  </a:lnTo>
                  <a:lnTo>
                    <a:pt x="627" y="118"/>
                  </a:lnTo>
                  <a:lnTo>
                    <a:pt x="621" y="106"/>
                  </a:lnTo>
                  <a:lnTo>
                    <a:pt x="621" y="95"/>
                  </a:lnTo>
                  <a:lnTo>
                    <a:pt x="621" y="84"/>
                  </a:lnTo>
                  <a:lnTo>
                    <a:pt x="615" y="73"/>
                  </a:lnTo>
                  <a:lnTo>
                    <a:pt x="615" y="62"/>
                  </a:lnTo>
                  <a:lnTo>
                    <a:pt x="615" y="50"/>
                  </a:lnTo>
                  <a:lnTo>
                    <a:pt x="615" y="34"/>
                  </a:lnTo>
                  <a:lnTo>
                    <a:pt x="615" y="22"/>
                  </a:lnTo>
                  <a:lnTo>
                    <a:pt x="615" y="11"/>
                  </a:lnTo>
                  <a:lnTo>
                    <a:pt x="615" y="0"/>
                  </a:lnTo>
                  <a:lnTo>
                    <a:pt x="576" y="6"/>
                  </a:lnTo>
                  <a:lnTo>
                    <a:pt x="537" y="11"/>
                  </a:lnTo>
                  <a:lnTo>
                    <a:pt x="504" y="17"/>
                  </a:lnTo>
                  <a:lnTo>
                    <a:pt x="470" y="17"/>
                  </a:lnTo>
                  <a:lnTo>
                    <a:pt x="431" y="22"/>
                  </a:lnTo>
                  <a:lnTo>
                    <a:pt x="392" y="22"/>
                  </a:lnTo>
                  <a:lnTo>
                    <a:pt x="352" y="28"/>
                  </a:lnTo>
                  <a:lnTo>
                    <a:pt x="313" y="34"/>
                  </a:lnTo>
                  <a:lnTo>
                    <a:pt x="280" y="34"/>
                  </a:lnTo>
                  <a:lnTo>
                    <a:pt x="241" y="34"/>
                  </a:lnTo>
                  <a:lnTo>
                    <a:pt x="201" y="39"/>
                  </a:lnTo>
                  <a:lnTo>
                    <a:pt x="162" y="39"/>
                  </a:lnTo>
                  <a:lnTo>
                    <a:pt x="117" y="39"/>
                  </a:lnTo>
                  <a:lnTo>
                    <a:pt x="78" y="39"/>
                  </a:lnTo>
                  <a:lnTo>
                    <a:pt x="39" y="39"/>
                  </a:lnTo>
                  <a:lnTo>
                    <a:pt x="0" y="39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>
                <a:lnSpc>
                  <a:spcPct val="90000"/>
                </a:lnSpc>
                <a:buClr>
                  <a:srgbClr val="0563C1"/>
                </a:buClr>
                <a:buSzPct val="110000"/>
              </a:pPr>
              <a:endParaRPr lang="en-US" sz="1200" dirty="0">
                <a:solidFill>
                  <a:prstClr val="white"/>
                </a:solidFill>
              </a:endParaRPr>
            </a:p>
          </p:txBody>
        </p:sp>
        <p:grpSp>
          <p:nvGrpSpPr>
            <p:cNvPr id="74" name="Group 42"/>
            <p:cNvGrpSpPr>
              <a:grpSpLocks/>
            </p:cNvGrpSpPr>
            <p:nvPr/>
          </p:nvGrpSpPr>
          <p:grpSpPr bwMode="auto">
            <a:xfrm>
              <a:off x="323528" y="1341312"/>
              <a:ext cx="8104631" cy="4896000"/>
              <a:chOff x="323528" y="1341312"/>
              <a:chExt cx="8104631" cy="4896000"/>
            </a:xfrm>
          </p:grpSpPr>
          <p:sp>
            <p:nvSpPr>
              <p:cNvPr id="75" name="Freeform 3"/>
              <p:cNvSpPr>
                <a:spLocks noEditPoints="1"/>
              </p:cNvSpPr>
              <p:nvPr/>
            </p:nvSpPr>
            <p:spPr bwMode="auto">
              <a:xfrm>
                <a:off x="3132069" y="1586603"/>
                <a:ext cx="1496254" cy="2138934"/>
              </a:xfrm>
              <a:custGeom>
                <a:avLst/>
                <a:gdLst/>
                <a:ahLst/>
                <a:cxnLst>
                  <a:cxn ang="0">
                    <a:pos x="119" y="6"/>
                  </a:cxn>
                  <a:cxn ang="0">
                    <a:pos x="121" y="17"/>
                  </a:cxn>
                  <a:cxn ang="0">
                    <a:pos x="118" y="22"/>
                  </a:cxn>
                  <a:cxn ang="0">
                    <a:pos x="121" y="29"/>
                  </a:cxn>
                  <a:cxn ang="0">
                    <a:pos x="118" y="33"/>
                  </a:cxn>
                  <a:cxn ang="0">
                    <a:pos x="123" y="38"/>
                  </a:cxn>
                  <a:cxn ang="0">
                    <a:pos x="117" y="48"/>
                  </a:cxn>
                  <a:cxn ang="0">
                    <a:pos x="114" y="62"/>
                  </a:cxn>
                  <a:cxn ang="0">
                    <a:pos x="110" y="79"/>
                  </a:cxn>
                  <a:cxn ang="0">
                    <a:pos x="103" y="96"/>
                  </a:cxn>
                  <a:cxn ang="0">
                    <a:pos x="109" y="107"/>
                  </a:cxn>
                  <a:cxn ang="0">
                    <a:pos x="119" y="113"/>
                  </a:cxn>
                  <a:cxn ang="0">
                    <a:pos x="134" y="121"/>
                  </a:cxn>
                  <a:cxn ang="0">
                    <a:pos x="150" y="126"/>
                  </a:cxn>
                  <a:cxn ang="0">
                    <a:pos x="149" y="135"/>
                  </a:cxn>
                  <a:cxn ang="0">
                    <a:pos x="129" y="157"/>
                  </a:cxn>
                  <a:cxn ang="0">
                    <a:pos x="120" y="169"/>
                  </a:cxn>
                  <a:cxn ang="0">
                    <a:pos x="108" y="180"/>
                  </a:cxn>
                  <a:cxn ang="0">
                    <a:pos x="90" y="182"/>
                  </a:cxn>
                  <a:cxn ang="0">
                    <a:pos x="75" y="197"/>
                  </a:cxn>
                  <a:cxn ang="0">
                    <a:pos x="68" y="194"/>
                  </a:cxn>
                  <a:cxn ang="0">
                    <a:pos x="52" y="180"/>
                  </a:cxn>
                  <a:cxn ang="0">
                    <a:pos x="46" y="173"/>
                  </a:cxn>
                  <a:cxn ang="0">
                    <a:pos x="39" y="170"/>
                  </a:cxn>
                  <a:cxn ang="0">
                    <a:pos x="42" y="158"/>
                  </a:cxn>
                  <a:cxn ang="0">
                    <a:pos x="50" y="148"/>
                  </a:cxn>
                  <a:cxn ang="0">
                    <a:pos x="46" y="122"/>
                  </a:cxn>
                  <a:cxn ang="0">
                    <a:pos x="28" y="98"/>
                  </a:cxn>
                  <a:cxn ang="0">
                    <a:pos x="14" y="90"/>
                  </a:cxn>
                  <a:cxn ang="0">
                    <a:pos x="4" y="82"/>
                  </a:cxn>
                  <a:cxn ang="0">
                    <a:pos x="0" y="78"/>
                  </a:cxn>
                  <a:cxn ang="0">
                    <a:pos x="5" y="75"/>
                  </a:cxn>
                  <a:cxn ang="0">
                    <a:pos x="9" y="73"/>
                  </a:cxn>
                  <a:cxn ang="0">
                    <a:pos x="15" y="69"/>
                  </a:cxn>
                  <a:cxn ang="0">
                    <a:pos x="17" y="63"/>
                  </a:cxn>
                  <a:cxn ang="0">
                    <a:pos x="14" y="57"/>
                  </a:cxn>
                  <a:cxn ang="0">
                    <a:pos x="18" y="50"/>
                  </a:cxn>
                  <a:cxn ang="0">
                    <a:pos x="36" y="50"/>
                  </a:cxn>
                  <a:cxn ang="0">
                    <a:pos x="39" y="47"/>
                  </a:cxn>
                  <a:cxn ang="0">
                    <a:pos x="38" y="42"/>
                  </a:cxn>
                  <a:cxn ang="0">
                    <a:pos x="34" y="40"/>
                  </a:cxn>
                  <a:cxn ang="0">
                    <a:pos x="28" y="37"/>
                  </a:cxn>
                  <a:cxn ang="0">
                    <a:pos x="23" y="35"/>
                  </a:cxn>
                  <a:cxn ang="0">
                    <a:pos x="31" y="29"/>
                  </a:cxn>
                  <a:cxn ang="0">
                    <a:pos x="28" y="28"/>
                  </a:cxn>
                  <a:cxn ang="0">
                    <a:pos x="21" y="26"/>
                  </a:cxn>
                  <a:cxn ang="0">
                    <a:pos x="23" y="23"/>
                  </a:cxn>
                  <a:cxn ang="0">
                    <a:pos x="23" y="20"/>
                  </a:cxn>
                  <a:cxn ang="0">
                    <a:pos x="22" y="17"/>
                  </a:cxn>
                  <a:cxn ang="0">
                    <a:pos x="31" y="18"/>
                  </a:cxn>
                  <a:cxn ang="0">
                    <a:pos x="54" y="18"/>
                  </a:cxn>
                  <a:cxn ang="0">
                    <a:pos x="63" y="15"/>
                  </a:cxn>
                  <a:cxn ang="0">
                    <a:pos x="69" y="13"/>
                  </a:cxn>
                  <a:cxn ang="0">
                    <a:pos x="80" y="10"/>
                  </a:cxn>
                  <a:cxn ang="0">
                    <a:pos x="88" y="12"/>
                  </a:cxn>
                  <a:cxn ang="0">
                    <a:pos x="98" y="10"/>
                  </a:cxn>
                  <a:cxn ang="0">
                    <a:pos x="100" y="5"/>
                  </a:cxn>
                  <a:cxn ang="0">
                    <a:pos x="104" y="3"/>
                  </a:cxn>
                  <a:cxn ang="0">
                    <a:pos x="109" y="1"/>
                  </a:cxn>
                  <a:cxn ang="0">
                    <a:pos x="9" y="86"/>
                  </a:cxn>
                  <a:cxn ang="0">
                    <a:pos x="11" y="85"/>
                  </a:cxn>
                </a:cxnLst>
                <a:rect l="0" t="0" r="r" b="b"/>
                <a:pathLst>
                  <a:path w="151" h="199">
                    <a:moveTo>
                      <a:pt x="109" y="0"/>
                    </a:moveTo>
                    <a:lnTo>
                      <a:pt x="112" y="0"/>
                    </a:lnTo>
                    <a:lnTo>
                      <a:pt x="114" y="0"/>
                    </a:lnTo>
                    <a:lnTo>
                      <a:pt x="116" y="0"/>
                    </a:lnTo>
                    <a:lnTo>
                      <a:pt x="118" y="0"/>
                    </a:lnTo>
                    <a:lnTo>
                      <a:pt x="118" y="1"/>
                    </a:lnTo>
                    <a:lnTo>
                      <a:pt x="118" y="1"/>
                    </a:lnTo>
                    <a:lnTo>
                      <a:pt x="119" y="2"/>
                    </a:lnTo>
                    <a:lnTo>
                      <a:pt x="119" y="2"/>
                    </a:lnTo>
                    <a:lnTo>
                      <a:pt x="119" y="3"/>
                    </a:lnTo>
                    <a:lnTo>
                      <a:pt x="119" y="4"/>
                    </a:lnTo>
                    <a:lnTo>
                      <a:pt x="119" y="5"/>
                    </a:lnTo>
                    <a:lnTo>
                      <a:pt x="119" y="6"/>
                    </a:lnTo>
                    <a:lnTo>
                      <a:pt x="119" y="7"/>
                    </a:lnTo>
                    <a:lnTo>
                      <a:pt x="119" y="8"/>
                    </a:lnTo>
                    <a:lnTo>
                      <a:pt x="119" y="9"/>
                    </a:lnTo>
                    <a:lnTo>
                      <a:pt x="119" y="11"/>
                    </a:lnTo>
                    <a:lnTo>
                      <a:pt x="119" y="12"/>
                    </a:lnTo>
                    <a:lnTo>
                      <a:pt x="119" y="12"/>
                    </a:lnTo>
                    <a:lnTo>
                      <a:pt x="119" y="13"/>
                    </a:lnTo>
                    <a:lnTo>
                      <a:pt x="120" y="14"/>
                    </a:lnTo>
                    <a:lnTo>
                      <a:pt x="120" y="15"/>
                    </a:lnTo>
                    <a:lnTo>
                      <a:pt x="120" y="15"/>
                    </a:lnTo>
                    <a:lnTo>
                      <a:pt x="120" y="16"/>
                    </a:lnTo>
                    <a:lnTo>
                      <a:pt x="121" y="16"/>
                    </a:lnTo>
                    <a:lnTo>
                      <a:pt x="121" y="17"/>
                    </a:lnTo>
                    <a:lnTo>
                      <a:pt x="121" y="17"/>
                    </a:lnTo>
                    <a:lnTo>
                      <a:pt x="121" y="18"/>
                    </a:lnTo>
                    <a:lnTo>
                      <a:pt x="121" y="18"/>
                    </a:lnTo>
                    <a:lnTo>
                      <a:pt x="121" y="19"/>
                    </a:lnTo>
                    <a:lnTo>
                      <a:pt x="121" y="19"/>
                    </a:lnTo>
                    <a:lnTo>
                      <a:pt x="121" y="20"/>
                    </a:lnTo>
                    <a:lnTo>
                      <a:pt x="120" y="20"/>
                    </a:lnTo>
                    <a:lnTo>
                      <a:pt x="120" y="21"/>
                    </a:lnTo>
                    <a:lnTo>
                      <a:pt x="120" y="21"/>
                    </a:lnTo>
                    <a:lnTo>
                      <a:pt x="119" y="21"/>
                    </a:lnTo>
                    <a:lnTo>
                      <a:pt x="119" y="21"/>
                    </a:lnTo>
                    <a:lnTo>
                      <a:pt x="118" y="21"/>
                    </a:lnTo>
                    <a:lnTo>
                      <a:pt x="118" y="22"/>
                    </a:lnTo>
                    <a:lnTo>
                      <a:pt x="117" y="22"/>
                    </a:lnTo>
                    <a:lnTo>
                      <a:pt x="117" y="22"/>
                    </a:lnTo>
                    <a:lnTo>
                      <a:pt x="116" y="22"/>
                    </a:lnTo>
                    <a:lnTo>
                      <a:pt x="117" y="22"/>
                    </a:lnTo>
                    <a:lnTo>
                      <a:pt x="117" y="23"/>
                    </a:lnTo>
                    <a:lnTo>
                      <a:pt x="118" y="24"/>
                    </a:lnTo>
                    <a:lnTo>
                      <a:pt x="118" y="24"/>
                    </a:lnTo>
                    <a:lnTo>
                      <a:pt x="119" y="25"/>
                    </a:lnTo>
                    <a:lnTo>
                      <a:pt x="119" y="26"/>
                    </a:lnTo>
                    <a:lnTo>
                      <a:pt x="120" y="27"/>
                    </a:lnTo>
                    <a:lnTo>
                      <a:pt x="120" y="28"/>
                    </a:lnTo>
                    <a:lnTo>
                      <a:pt x="121" y="28"/>
                    </a:lnTo>
                    <a:lnTo>
                      <a:pt x="121" y="29"/>
                    </a:lnTo>
                    <a:lnTo>
                      <a:pt x="121" y="29"/>
                    </a:lnTo>
                    <a:lnTo>
                      <a:pt x="121" y="30"/>
                    </a:lnTo>
                    <a:lnTo>
                      <a:pt x="121" y="30"/>
                    </a:lnTo>
                    <a:lnTo>
                      <a:pt x="121" y="30"/>
                    </a:lnTo>
                    <a:lnTo>
                      <a:pt x="121" y="31"/>
                    </a:lnTo>
                    <a:lnTo>
                      <a:pt x="121" y="31"/>
                    </a:lnTo>
                    <a:lnTo>
                      <a:pt x="121" y="31"/>
                    </a:lnTo>
                    <a:lnTo>
                      <a:pt x="120" y="32"/>
                    </a:lnTo>
                    <a:lnTo>
                      <a:pt x="120" y="32"/>
                    </a:lnTo>
                    <a:lnTo>
                      <a:pt x="119" y="32"/>
                    </a:lnTo>
                    <a:lnTo>
                      <a:pt x="119" y="33"/>
                    </a:lnTo>
                    <a:lnTo>
                      <a:pt x="118" y="33"/>
                    </a:lnTo>
                    <a:lnTo>
                      <a:pt x="118" y="33"/>
                    </a:lnTo>
                    <a:lnTo>
                      <a:pt x="118" y="34"/>
                    </a:lnTo>
                    <a:lnTo>
                      <a:pt x="118" y="34"/>
                    </a:lnTo>
                    <a:lnTo>
                      <a:pt x="118" y="35"/>
                    </a:lnTo>
                    <a:lnTo>
                      <a:pt x="119" y="35"/>
                    </a:lnTo>
                    <a:lnTo>
                      <a:pt x="119" y="35"/>
                    </a:lnTo>
                    <a:lnTo>
                      <a:pt x="119" y="35"/>
                    </a:lnTo>
                    <a:lnTo>
                      <a:pt x="120" y="36"/>
                    </a:lnTo>
                    <a:lnTo>
                      <a:pt x="121" y="36"/>
                    </a:lnTo>
                    <a:lnTo>
                      <a:pt x="122" y="36"/>
                    </a:lnTo>
                    <a:lnTo>
                      <a:pt x="122" y="36"/>
                    </a:lnTo>
                    <a:lnTo>
                      <a:pt x="123" y="37"/>
                    </a:lnTo>
                    <a:lnTo>
                      <a:pt x="123" y="37"/>
                    </a:lnTo>
                    <a:lnTo>
                      <a:pt x="123" y="38"/>
                    </a:lnTo>
                    <a:lnTo>
                      <a:pt x="123" y="38"/>
                    </a:lnTo>
                    <a:lnTo>
                      <a:pt x="123" y="39"/>
                    </a:lnTo>
                    <a:lnTo>
                      <a:pt x="122" y="40"/>
                    </a:lnTo>
                    <a:lnTo>
                      <a:pt x="122" y="42"/>
                    </a:lnTo>
                    <a:lnTo>
                      <a:pt x="121" y="44"/>
                    </a:lnTo>
                    <a:lnTo>
                      <a:pt x="121" y="45"/>
                    </a:lnTo>
                    <a:lnTo>
                      <a:pt x="121" y="45"/>
                    </a:lnTo>
                    <a:lnTo>
                      <a:pt x="120" y="46"/>
                    </a:lnTo>
                    <a:lnTo>
                      <a:pt x="120" y="47"/>
                    </a:lnTo>
                    <a:lnTo>
                      <a:pt x="119" y="48"/>
                    </a:lnTo>
                    <a:lnTo>
                      <a:pt x="119" y="48"/>
                    </a:lnTo>
                    <a:lnTo>
                      <a:pt x="118" y="48"/>
                    </a:lnTo>
                    <a:lnTo>
                      <a:pt x="117" y="48"/>
                    </a:lnTo>
                    <a:lnTo>
                      <a:pt x="117" y="48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5" y="48"/>
                    </a:lnTo>
                    <a:lnTo>
                      <a:pt x="114" y="48"/>
                    </a:lnTo>
                    <a:lnTo>
                      <a:pt x="115" y="49"/>
                    </a:lnTo>
                    <a:lnTo>
                      <a:pt x="115" y="51"/>
                    </a:lnTo>
                    <a:lnTo>
                      <a:pt x="114" y="53"/>
                    </a:lnTo>
                    <a:lnTo>
                      <a:pt x="114" y="56"/>
                    </a:lnTo>
                    <a:lnTo>
                      <a:pt x="114" y="58"/>
                    </a:lnTo>
                    <a:lnTo>
                      <a:pt x="114" y="60"/>
                    </a:lnTo>
                    <a:lnTo>
                      <a:pt x="114" y="61"/>
                    </a:lnTo>
                    <a:lnTo>
                      <a:pt x="114" y="62"/>
                    </a:lnTo>
                    <a:lnTo>
                      <a:pt x="115" y="63"/>
                    </a:lnTo>
                    <a:lnTo>
                      <a:pt x="115" y="64"/>
                    </a:lnTo>
                    <a:lnTo>
                      <a:pt x="115" y="65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8"/>
                    </a:lnTo>
                    <a:lnTo>
                      <a:pt x="115" y="70"/>
                    </a:lnTo>
                    <a:lnTo>
                      <a:pt x="115" y="72"/>
                    </a:lnTo>
                    <a:lnTo>
                      <a:pt x="114" y="74"/>
                    </a:lnTo>
                    <a:lnTo>
                      <a:pt x="113" y="75"/>
                    </a:lnTo>
                    <a:lnTo>
                      <a:pt x="112" y="77"/>
                    </a:lnTo>
                    <a:lnTo>
                      <a:pt x="111" y="78"/>
                    </a:lnTo>
                    <a:lnTo>
                      <a:pt x="110" y="79"/>
                    </a:lnTo>
                    <a:lnTo>
                      <a:pt x="109" y="81"/>
                    </a:lnTo>
                    <a:lnTo>
                      <a:pt x="108" y="82"/>
                    </a:lnTo>
                    <a:lnTo>
                      <a:pt x="107" y="83"/>
                    </a:lnTo>
                    <a:lnTo>
                      <a:pt x="106" y="84"/>
                    </a:lnTo>
                    <a:lnTo>
                      <a:pt x="105" y="85"/>
                    </a:lnTo>
                    <a:lnTo>
                      <a:pt x="104" y="86"/>
                    </a:lnTo>
                    <a:lnTo>
                      <a:pt x="101" y="88"/>
                    </a:lnTo>
                    <a:lnTo>
                      <a:pt x="101" y="89"/>
                    </a:lnTo>
                    <a:lnTo>
                      <a:pt x="102" y="90"/>
                    </a:lnTo>
                    <a:lnTo>
                      <a:pt x="102" y="91"/>
                    </a:lnTo>
                    <a:lnTo>
                      <a:pt x="102" y="92"/>
                    </a:lnTo>
                    <a:lnTo>
                      <a:pt x="103" y="94"/>
                    </a:lnTo>
                    <a:lnTo>
                      <a:pt x="103" y="96"/>
                    </a:lnTo>
                    <a:lnTo>
                      <a:pt x="103" y="98"/>
                    </a:lnTo>
                    <a:lnTo>
                      <a:pt x="103" y="100"/>
                    </a:lnTo>
                    <a:lnTo>
                      <a:pt x="103" y="102"/>
                    </a:lnTo>
                    <a:lnTo>
                      <a:pt x="103" y="105"/>
                    </a:lnTo>
                    <a:lnTo>
                      <a:pt x="103" y="105"/>
                    </a:lnTo>
                    <a:lnTo>
                      <a:pt x="103" y="106"/>
                    </a:lnTo>
                    <a:lnTo>
                      <a:pt x="104" y="106"/>
                    </a:lnTo>
                    <a:lnTo>
                      <a:pt x="104" y="107"/>
                    </a:lnTo>
                    <a:lnTo>
                      <a:pt x="105" y="107"/>
                    </a:lnTo>
                    <a:lnTo>
                      <a:pt x="106" y="107"/>
                    </a:lnTo>
                    <a:lnTo>
                      <a:pt x="107" y="107"/>
                    </a:lnTo>
                    <a:lnTo>
                      <a:pt x="108" y="107"/>
                    </a:lnTo>
                    <a:lnTo>
                      <a:pt x="109" y="107"/>
                    </a:lnTo>
                    <a:lnTo>
                      <a:pt x="111" y="106"/>
                    </a:lnTo>
                    <a:lnTo>
                      <a:pt x="112" y="106"/>
                    </a:lnTo>
                    <a:lnTo>
                      <a:pt x="113" y="106"/>
                    </a:lnTo>
                    <a:lnTo>
                      <a:pt x="114" y="106"/>
                    </a:lnTo>
                    <a:lnTo>
                      <a:pt x="114" y="106"/>
                    </a:lnTo>
                    <a:lnTo>
                      <a:pt x="115" y="108"/>
                    </a:lnTo>
                    <a:lnTo>
                      <a:pt x="115" y="109"/>
                    </a:lnTo>
                    <a:lnTo>
                      <a:pt x="116" y="109"/>
                    </a:lnTo>
                    <a:lnTo>
                      <a:pt x="116" y="110"/>
                    </a:lnTo>
                    <a:lnTo>
                      <a:pt x="117" y="111"/>
                    </a:lnTo>
                    <a:lnTo>
                      <a:pt x="117" y="112"/>
                    </a:lnTo>
                    <a:lnTo>
                      <a:pt x="118" y="113"/>
                    </a:lnTo>
                    <a:lnTo>
                      <a:pt x="119" y="113"/>
                    </a:lnTo>
                    <a:lnTo>
                      <a:pt x="120" y="114"/>
                    </a:lnTo>
                    <a:lnTo>
                      <a:pt x="121" y="114"/>
                    </a:lnTo>
                    <a:lnTo>
                      <a:pt x="122" y="115"/>
                    </a:lnTo>
                    <a:lnTo>
                      <a:pt x="123" y="115"/>
                    </a:lnTo>
                    <a:lnTo>
                      <a:pt x="125" y="115"/>
                    </a:lnTo>
                    <a:lnTo>
                      <a:pt x="126" y="115"/>
                    </a:lnTo>
                    <a:lnTo>
                      <a:pt x="128" y="115"/>
                    </a:lnTo>
                    <a:lnTo>
                      <a:pt x="129" y="115"/>
                    </a:lnTo>
                    <a:lnTo>
                      <a:pt x="130" y="116"/>
                    </a:lnTo>
                    <a:lnTo>
                      <a:pt x="131" y="117"/>
                    </a:lnTo>
                    <a:lnTo>
                      <a:pt x="132" y="118"/>
                    </a:lnTo>
                    <a:lnTo>
                      <a:pt x="132" y="119"/>
                    </a:lnTo>
                    <a:lnTo>
                      <a:pt x="134" y="121"/>
                    </a:lnTo>
                    <a:lnTo>
                      <a:pt x="136" y="123"/>
                    </a:lnTo>
                    <a:lnTo>
                      <a:pt x="139" y="123"/>
                    </a:lnTo>
                    <a:lnTo>
                      <a:pt x="141" y="123"/>
                    </a:lnTo>
                    <a:lnTo>
                      <a:pt x="143" y="123"/>
                    </a:lnTo>
                    <a:lnTo>
                      <a:pt x="144" y="123"/>
                    </a:lnTo>
                    <a:lnTo>
                      <a:pt x="145" y="123"/>
                    </a:lnTo>
                    <a:lnTo>
                      <a:pt x="146" y="123"/>
                    </a:lnTo>
                    <a:lnTo>
                      <a:pt x="147" y="124"/>
                    </a:lnTo>
                    <a:lnTo>
                      <a:pt x="148" y="124"/>
                    </a:lnTo>
                    <a:lnTo>
                      <a:pt x="148" y="124"/>
                    </a:lnTo>
                    <a:lnTo>
                      <a:pt x="149" y="125"/>
                    </a:lnTo>
                    <a:lnTo>
                      <a:pt x="150" y="125"/>
                    </a:lnTo>
                    <a:lnTo>
                      <a:pt x="150" y="126"/>
                    </a:lnTo>
                    <a:lnTo>
                      <a:pt x="151" y="126"/>
                    </a:lnTo>
                    <a:lnTo>
                      <a:pt x="151" y="127"/>
                    </a:lnTo>
                    <a:lnTo>
                      <a:pt x="151" y="128"/>
                    </a:lnTo>
                    <a:lnTo>
                      <a:pt x="151" y="129"/>
                    </a:lnTo>
                    <a:lnTo>
                      <a:pt x="151" y="129"/>
                    </a:lnTo>
                    <a:lnTo>
                      <a:pt x="151" y="130"/>
                    </a:lnTo>
                    <a:lnTo>
                      <a:pt x="151" y="130"/>
                    </a:lnTo>
                    <a:lnTo>
                      <a:pt x="150" y="131"/>
                    </a:lnTo>
                    <a:lnTo>
                      <a:pt x="150" y="132"/>
                    </a:lnTo>
                    <a:lnTo>
                      <a:pt x="149" y="133"/>
                    </a:lnTo>
                    <a:lnTo>
                      <a:pt x="149" y="133"/>
                    </a:lnTo>
                    <a:lnTo>
                      <a:pt x="149" y="134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6"/>
                    </a:lnTo>
                    <a:lnTo>
                      <a:pt x="147" y="138"/>
                    </a:lnTo>
                    <a:lnTo>
                      <a:pt x="146" y="139"/>
                    </a:lnTo>
                    <a:lnTo>
                      <a:pt x="144" y="141"/>
                    </a:lnTo>
                    <a:lnTo>
                      <a:pt x="142" y="143"/>
                    </a:lnTo>
                    <a:lnTo>
                      <a:pt x="141" y="144"/>
                    </a:lnTo>
                    <a:lnTo>
                      <a:pt x="139" y="146"/>
                    </a:lnTo>
                    <a:lnTo>
                      <a:pt x="136" y="150"/>
                    </a:lnTo>
                    <a:lnTo>
                      <a:pt x="134" y="152"/>
                    </a:lnTo>
                    <a:lnTo>
                      <a:pt x="133" y="154"/>
                    </a:lnTo>
                    <a:lnTo>
                      <a:pt x="131" y="155"/>
                    </a:lnTo>
                    <a:lnTo>
                      <a:pt x="129" y="157"/>
                    </a:lnTo>
                    <a:lnTo>
                      <a:pt x="127" y="159"/>
                    </a:lnTo>
                    <a:lnTo>
                      <a:pt x="125" y="160"/>
                    </a:lnTo>
                    <a:lnTo>
                      <a:pt x="123" y="162"/>
                    </a:lnTo>
                    <a:lnTo>
                      <a:pt x="122" y="162"/>
                    </a:lnTo>
                    <a:lnTo>
                      <a:pt x="121" y="163"/>
                    </a:lnTo>
                    <a:lnTo>
                      <a:pt x="121" y="164"/>
                    </a:lnTo>
                    <a:lnTo>
                      <a:pt x="121" y="165"/>
                    </a:lnTo>
                    <a:lnTo>
                      <a:pt x="121" y="165"/>
                    </a:lnTo>
                    <a:lnTo>
                      <a:pt x="121" y="166"/>
                    </a:lnTo>
                    <a:lnTo>
                      <a:pt x="121" y="166"/>
                    </a:lnTo>
                    <a:lnTo>
                      <a:pt x="121" y="167"/>
                    </a:lnTo>
                    <a:lnTo>
                      <a:pt x="120" y="168"/>
                    </a:lnTo>
                    <a:lnTo>
                      <a:pt x="120" y="169"/>
                    </a:lnTo>
                    <a:lnTo>
                      <a:pt x="119" y="169"/>
                    </a:lnTo>
                    <a:lnTo>
                      <a:pt x="119" y="170"/>
                    </a:lnTo>
                    <a:lnTo>
                      <a:pt x="119" y="171"/>
                    </a:lnTo>
                    <a:lnTo>
                      <a:pt x="119" y="171"/>
                    </a:lnTo>
                    <a:lnTo>
                      <a:pt x="119" y="172"/>
                    </a:lnTo>
                    <a:lnTo>
                      <a:pt x="119" y="173"/>
                    </a:lnTo>
                    <a:lnTo>
                      <a:pt x="118" y="173"/>
                    </a:lnTo>
                    <a:lnTo>
                      <a:pt x="117" y="174"/>
                    </a:lnTo>
                    <a:lnTo>
                      <a:pt x="115" y="175"/>
                    </a:lnTo>
                    <a:lnTo>
                      <a:pt x="114" y="176"/>
                    </a:lnTo>
                    <a:lnTo>
                      <a:pt x="112" y="178"/>
                    </a:lnTo>
                    <a:lnTo>
                      <a:pt x="110" y="179"/>
                    </a:lnTo>
                    <a:lnTo>
                      <a:pt x="108" y="180"/>
                    </a:lnTo>
                    <a:lnTo>
                      <a:pt x="106" y="182"/>
                    </a:lnTo>
                    <a:lnTo>
                      <a:pt x="104" y="183"/>
                    </a:lnTo>
                    <a:lnTo>
                      <a:pt x="103" y="183"/>
                    </a:lnTo>
                    <a:lnTo>
                      <a:pt x="102" y="183"/>
                    </a:lnTo>
                    <a:lnTo>
                      <a:pt x="100" y="183"/>
                    </a:lnTo>
                    <a:lnTo>
                      <a:pt x="99" y="183"/>
                    </a:lnTo>
                    <a:lnTo>
                      <a:pt x="97" y="183"/>
                    </a:lnTo>
                    <a:lnTo>
                      <a:pt x="96" y="183"/>
                    </a:lnTo>
                    <a:lnTo>
                      <a:pt x="95" y="183"/>
                    </a:lnTo>
                    <a:lnTo>
                      <a:pt x="94" y="183"/>
                    </a:lnTo>
                    <a:lnTo>
                      <a:pt x="92" y="182"/>
                    </a:lnTo>
                    <a:lnTo>
                      <a:pt x="91" y="182"/>
                    </a:lnTo>
                    <a:lnTo>
                      <a:pt x="90" y="182"/>
                    </a:lnTo>
                    <a:lnTo>
                      <a:pt x="89" y="182"/>
                    </a:lnTo>
                    <a:lnTo>
                      <a:pt x="88" y="182"/>
                    </a:lnTo>
                    <a:lnTo>
                      <a:pt x="87" y="183"/>
                    </a:lnTo>
                    <a:lnTo>
                      <a:pt x="86" y="183"/>
                    </a:lnTo>
                    <a:lnTo>
                      <a:pt x="84" y="185"/>
                    </a:lnTo>
                    <a:lnTo>
                      <a:pt x="83" y="188"/>
                    </a:lnTo>
                    <a:lnTo>
                      <a:pt x="81" y="190"/>
                    </a:lnTo>
                    <a:lnTo>
                      <a:pt x="80" y="192"/>
                    </a:lnTo>
                    <a:lnTo>
                      <a:pt x="79" y="193"/>
                    </a:lnTo>
                    <a:lnTo>
                      <a:pt x="78" y="194"/>
                    </a:lnTo>
                    <a:lnTo>
                      <a:pt x="77" y="195"/>
                    </a:lnTo>
                    <a:lnTo>
                      <a:pt x="76" y="196"/>
                    </a:lnTo>
                    <a:lnTo>
                      <a:pt x="75" y="197"/>
                    </a:lnTo>
                    <a:lnTo>
                      <a:pt x="74" y="198"/>
                    </a:lnTo>
                    <a:lnTo>
                      <a:pt x="72" y="199"/>
                    </a:lnTo>
                    <a:lnTo>
                      <a:pt x="71" y="199"/>
                    </a:lnTo>
                    <a:lnTo>
                      <a:pt x="71" y="199"/>
                    </a:lnTo>
                    <a:lnTo>
                      <a:pt x="70" y="199"/>
                    </a:lnTo>
                    <a:lnTo>
                      <a:pt x="70" y="199"/>
                    </a:lnTo>
                    <a:lnTo>
                      <a:pt x="70" y="199"/>
                    </a:lnTo>
                    <a:lnTo>
                      <a:pt x="69" y="199"/>
                    </a:lnTo>
                    <a:lnTo>
                      <a:pt x="69" y="198"/>
                    </a:lnTo>
                    <a:lnTo>
                      <a:pt x="68" y="197"/>
                    </a:lnTo>
                    <a:lnTo>
                      <a:pt x="68" y="196"/>
                    </a:lnTo>
                    <a:lnTo>
                      <a:pt x="68" y="195"/>
                    </a:lnTo>
                    <a:lnTo>
                      <a:pt x="68" y="194"/>
                    </a:lnTo>
                    <a:lnTo>
                      <a:pt x="68" y="193"/>
                    </a:lnTo>
                    <a:lnTo>
                      <a:pt x="68" y="191"/>
                    </a:lnTo>
                    <a:lnTo>
                      <a:pt x="67" y="190"/>
                    </a:lnTo>
                    <a:lnTo>
                      <a:pt x="65" y="189"/>
                    </a:lnTo>
                    <a:lnTo>
                      <a:pt x="64" y="188"/>
                    </a:lnTo>
                    <a:lnTo>
                      <a:pt x="62" y="187"/>
                    </a:lnTo>
                    <a:lnTo>
                      <a:pt x="59" y="186"/>
                    </a:lnTo>
                    <a:lnTo>
                      <a:pt x="58" y="185"/>
                    </a:lnTo>
                    <a:lnTo>
                      <a:pt x="57" y="184"/>
                    </a:lnTo>
                    <a:lnTo>
                      <a:pt x="55" y="183"/>
                    </a:lnTo>
                    <a:lnTo>
                      <a:pt x="54" y="182"/>
                    </a:lnTo>
                    <a:lnTo>
                      <a:pt x="53" y="181"/>
                    </a:lnTo>
                    <a:lnTo>
                      <a:pt x="52" y="180"/>
                    </a:lnTo>
                    <a:lnTo>
                      <a:pt x="51" y="179"/>
                    </a:lnTo>
                    <a:lnTo>
                      <a:pt x="51" y="178"/>
                    </a:lnTo>
                    <a:lnTo>
                      <a:pt x="50" y="178"/>
                    </a:lnTo>
                    <a:lnTo>
                      <a:pt x="50" y="177"/>
                    </a:lnTo>
                    <a:lnTo>
                      <a:pt x="50" y="176"/>
                    </a:lnTo>
                    <a:lnTo>
                      <a:pt x="50" y="175"/>
                    </a:lnTo>
                    <a:lnTo>
                      <a:pt x="50" y="174"/>
                    </a:lnTo>
                    <a:lnTo>
                      <a:pt x="49" y="173"/>
                    </a:lnTo>
                    <a:lnTo>
                      <a:pt x="49" y="173"/>
                    </a:lnTo>
                    <a:lnTo>
                      <a:pt x="48" y="173"/>
                    </a:lnTo>
                    <a:lnTo>
                      <a:pt x="47" y="173"/>
                    </a:lnTo>
                    <a:lnTo>
                      <a:pt x="46" y="173"/>
                    </a:lnTo>
                    <a:lnTo>
                      <a:pt x="46" y="173"/>
                    </a:lnTo>
                    <a:lnTo>
                      <a:pt x="45" y="173"/>
                    </a:lnTo>
                    <a:lnTo>
                      <a:pt x="45" y="174"/>
                    </a:lnTo>
                    <a:lnTo>
                      <a:pt x="44" y="174"/>
                    </a:lnTo>
                    <a:lnTo>
                      <a:pt x="43" y="174"/>
                    </a:lnTo>
                    <a:lnTo>
                      <a:pt x="43" y="174"/>
                    </a:lnTo>
                    <a:lnTo>
                      <a:pt x="43" y="173"/>
                    </a:lnTo>
                    <a:lnTo>
                      <a:pt x="42" y="173"/>
                    </a:lnTo>
                    <a:lnTo>
                      <a:pt x="42" y="173"/>
                    </a:lnTo>
                    <a:lnTo>
                      <a:pt x="41" y="173"/>
                    </a:lnTo>
                    <a:lnTo>
                      <a:pt x="41" y="172"/>
                    </a:lnTo>
                    <a:lnTo>
                      <a:pt x="40" y="172"/>
                    </a:lnTo>
                    <a:lnTo>
                      <a:pt x="39" y="171"/>
                    </a:lnTo>
                    <a:lnTo>
                      <a:pt x="39" y="170"/>
                    </a:lnTo>
                    <a:lnTo>
                      <a:pt x="39" y="169"/>
                    </a:lnTo>
                    <a:lnTo>
                      <a:pt x="39" y="168"/>
                    </a:lnTo>
                    <a:lnTo>
                      <a:pt x="39" y="167"/>
                    </a:lnTo>
                    <a:lnTo>
                      <a:pt x="39" y="167"/>
                    </a:lnTo>
                    <a:lnTo>
                      <a:pt x="40" y="166"/>
                    </a:lnTo>
                    <a:lnTo>
                      <a:pt x="40" y="164"/>
                    </a:lnTo>
                    <a:lnTo>
                      <a:pt x="40" y="163"/>
                    </a:lnTo>
                    <a:lnTo>
                      <a:pt x="41" y="161"/>
                    </a:lnTo>
                    <a:lnTo>
                      <a:pt x="41" y="161"/>
                    </a:lnTo>
                    <a:lnTo>
                      <a:pt x="41" y="160"/>
                    </a:lnTo>
                    <a:lnTo>
                      <a:pt x="41" y="159"/>
                    </a:lnTo>
                    <a:lnTo>
                      <a:pt x="41" y="158"/>
                    </a:lnTo>
                    <a:lnTo>
                      <a:pt x="42" y="158"/>
                    </a:lnTo>
                    <a:lnTo>
                      <a:pt x="42" y="158"/>
                    </a:lnTo>
                    <a:lnTo>
                      <a:pt x="43" y="158"/>
                    </a:lnTo>
                    <a:lnTo>
                      <a:pt x="43" y="157"/>
                    </a:lnTo>
                    <a:lnTo>
                      <a:pt x="45" y="157"/>
                    </a:lnTo>
                    <a:lnTo>
                      <a:pt x="45" y="156"/>
                    </a:lnTo>
                    <a:lnTo>
                      <a:pt x="46" y="156"/>
                    </a:lnTo>
                    <a:lnTo>
                      <a:pt x="47" y="155"/>
                    </a:lnTo>
                    <a:lnTo>
                      <a:pt x="47" y="154"/>
                    </a:lnTo>
                    <a:lnTo>
                      <a:pt x="48" y="153"/>
                    </a:lnTo>
                    <a:lnTo>
                      <a:pt x="49" y="151"/>
                    </a:lnTo>
                    <a:lnTo>
                      <a:pt x="49" y="150"/>
                    </a:lnTo>
                    <a:lnTo>
                      <a:pt x="50" y="149"/>
                    </a:lnTo>
                    <a:lnTo>
                      <a:pt x="50" y="148"/>
                    </a:lnTo>
                    <a:lnTo>
                      <a:pt x="51" y="147"/>
                    </a:lnTo>
                    <a:lnTo>
                      <a:pt x="52" y="147"/>
                    </a:lnTo>
                    <a:lnTo>
                      <a:pt x="53" y="146"/>
                    </a:lnTo>
                    <a:lnTo>
                      <a:pt x="52" y="144"/>
                    </a:lnTo>
                    <a:lnTo>
                      <a:pt x="52" y="142"/>
                    </a:lnTo>
                    <a:lnTo>
                      <a:pt x="51" y="140"/>
                    </a:lnTo>
                    <a:lnTo>
                      <a:pt x="51" y="138"/>
                    </a:lnTo>
                    <a:lnTo>
                      <a:pt x="50" y="136"/>
                    </a:lnTo>
                    <a:lnTo>
                      <a:pt x="50" y="134"/>
                    </a:lnTo>
                    <a:lnTo>
                      <a:pt x="48" y="130"/>
                    </a:lnTo>
                    <a:lnTo>
                      <a:pt x="47" y="126"/>
                    </a:lnTo>
                    <a:lnTo>
                      <a:pt x="46" y="124"/>
                    </a:lnTo>
                    <a:lnTo>
                      <a:pt x="46" y="122"/>
                    </a:lnTo>
                    <a:lnTo>
                      <a:pt x="45" y="120"/>
                    </a:lnTo>
                    <a:lnTo>
                      <a:pt x="45" y="118"/>
                    </a:lnTo>
                    <a:lnTo>
                      <a:pt x="45" y="115"/>
                    </a:lnTo>
                    <a:lnTo>
                      <a:pt x="45" y="113"/>
                    </a:lnTo>
                    <a:lnTo>
                      <a:pt x="43" y="111"/>
                    </a:lnTo>
                    <a:lnTo>
                      <a:pt x="42" y="109"/>
                    </a:lnTo>
                    <a:lnTo>
                      <a:pt x="40" y="107"/>
                    </a:lnTo>
                    <a:lnTo>
                      <a:pt x="39" y="105"/>
                    </a:lnTo>
                    <a:lnTo>
                      <a:pt x="36" y="102"/>
                    </a:lnTo>
                    <a:lnTo>
                      <a:pt x="33" y="98"/>
                    </a:lnTo>
                    <a:lnTo>
                      <a:pt x="31" y="98"/>
                    </a:lnTo>
                    <a:lnTo>
                      <a:pt x="29" y="98"/>
                    </a:lnTo>
                    <a:lnTo>
                      <a:pt x="28" y="98"/>
                    </a:lnTo>
                    <a:lnTo>
                      <a:pt x="26" y="98"/>
                    </a:lnTo>
                    <a:lnTo>
                      <a:pt x="26" y="97"/>
                    </a:lnTo>
                    <a:lnTo>
                      <a:pt x="25" y="97"/>
                    </a:lnTo>
                    <a:lnTo>
                      <a:pt x="24" y="96"/>
                    </a:lnTo>
                    <a:lnTo>
                      <a:pt x="22" y="95"/>
                    </a:lnTo>
                    <a:lnTo>
                      <a:pt x="21" y="94"/>
                    </a:lnTo>
                    <a:lnTo>
                      <a:pt x="19" y="94"/>
                    </a:lnTo>
                    <a:lnTo>
                      <a:pt x="18" y="93"/>
                    </a:lnTo>
                    <a:lnTo>
                      <a:pt x="16" y="92"/>
                    </a:lnTo>
                    <a:lnTo>
                      <a:pt x="15" y="91"/>
                    </a:lnTo>
                    <a:lnTo>
                      <a:pt x="14" y="91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3" y="89"/>
                    </a:lnTo>
                    <a:lnTo>
                      <a:pt x="13" y="89"/>
                    </a:lnTo>
                    <a:lnTo>
                      <a:pt x="12" y="89"/>
                    </a:lnTo>
                    <a:lnTo>
                      <a:pt x="11" y="88"/>
                    </a:lnTo>
                    <a:lnTo>
                      <a:pt x="9" y="88"/>
                    </a:lnTo>
                    <a:lnTo>
                      <a:pt x="8" y="88"/>
                    </a:lnTo>
                    <a:lnTo>
                      <a:pt x="6" y="88"/>
                    </a:lnTo>
                    <a:lnTo>
                      <a:pt x="5" y="88"/>
                    </a:lnTo>
                    <a:lnTo>
                      <a:pt x="5" y="83"/>
                    </a:lnTo>
                    <a:lnTo>
                      <a:pt x="5" y="83"/>
                    </a:lnTo>
                    <a:lnTo>
                      <a:pt x="5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3" y="82"/>
                    </a:lnTo>
                    <a:lnTo>
                      <a:pt x="3" y="82"/>
                    </a:lnTo>
                    <a:lnTo>
                      <a:pt x="2" y="81"/>
                    </a:lnTo>
                    <a:lnTo>
                      <a:pt x="2" y="81"/>
                    </a:lnTo>
                    <a:lnTo>
                      <a:pt x="1" y="81"/>
                    </a:lnTo>
                    <a:lnTo>
                      <a:pt x="1" y="81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9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1" y="78"/>
                    </a:lnTo>
                    <a:lnTo>
                      <a:pt x="1" y="77"/>
                    </a:lnTo>
                    <a:lnTo>
                      <a:pt x="2" y="77"/>
                    </a:lnTo>
                    <a:lnTo>
                      <a:pt x="2" y="77"/>
                    </a:lnTo>
                    <a:lnTo>
                      <a:pt x="3" y="76"/>
                    </a:lnTo>
                    <a:lnTo>
                      <a:pt x="3" y="77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6" y="75"/>
                    </a:lnTo>
                    <a:lnTo>
                      <a:pt x="7" y="75"/>
                    </a:lnTo>
                    <a:lnTo>
                      <a:pt x="8" y="75"/>
                    </a:lnTo>
                    <a:lnTo>
                      <a:pt x="8" y="75"/>
                    </a:lnTo>
                    <a:lnTo>
                      <a:pt x="9" y="75"/>
                    </a:lnTo>
                    <a:lnTo>
                      <a:pt x="9" y="75"/>
                    </a:lnTo>
                    <a:lnTo>
                      <a:pt x="9" y="74"/>
                    </a:lnTo>
                    <a:lnTo>
                      <a:pt x="9" y="74"/>
                    </a:lnTo>
                    <a:lnTo>
                      <a:pt x="9" y="74"/>
                    </a:lnTo>
                    <a:lnTo>
                      <a:pt x="9" y="73"/>
                    </a:lnTo>
                    <a:lnTo>
                      <a:pt x="9" y="73"/>
                    </a:lnTo>
                    <a:lnTo>
                      <a:pt x="10" y="73"/>
                    </a:lnTo>
                    <a:lnTo>
                      <a:pt x="10" y="73"/>
                    </a:lnTo>
                    <a:lnTo>
                      <a:pt x="11" y="73"/>
                    </a:lnTo>
                    <a:lnTo>
                      <a:pt x="11" y="73"/>
                    </a:lnTo>
                    <a:lnTo>
                      <a:pt x="12" y="73"/>
                    </a:lnTo>
                    <a:lnTo>
                      <a:pt x="12" y="73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4" y="72"/>
                    </a:lnTo>
                    <a:lnTo>
                      <a:pt x="14" y="71"/>
                    </a:lnTo>
                    <a:lnTo>
                      <a:pt x="14" y="70"/>
                    </a:lnTo>
                    <a:lnTo>
                      <a:pt x="15" y="70"/>
                    </a:lnTo>
                    <a:lnTo>
                      <a:pt x="15" y="69"/>
                    </a:lnTo>
                    <a:lnTo>
                      <a:pt x="16" y="69"/>
                    </a:lnTo>
                    <a:lnTo>
                      <a:pt x="16" y="69"/>
                    </a:lnTo>
                    <a:lnTo>
                      <a:pt x="17" y="68"/>
                    </a:lnTo>
                    <a:lnTo>
                      <a:pt x="17" y="67"/>
                    </a:lnTo>
                    <a:lnTo>
                      <a:pt x="18" y="67"/>
                    </a:lnTo>
                    <a:lnTo>
                      <a:pt x="18" y="66"/>
                    </a:lnTo>
                    <a:lnTo>
                      <a:pt x="18" y="65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7" y="64"/>
                    </a:lnTo>
                    <a:lnTo>
                      <a:pt x="17" y="63"/>
                    </a:lnTo>
                    <a:lnTo>
                      <a:pt x="17" y="63"/>
                    </a:lnTo>
                    <a:lnTo>
                      <a:pt x="16" y="63"/>
                    </a:lnTo>
                    <a:lnTo>
                      <a:pt x="16" y="63"/>
                    </a:lnTo>
                    <a:lnTo>
                      <a:pt x="16" y="62"/>
                    </a:lnTo>
                    <a:lnTo>
                      <a:pt x="16" y="62"/>
                    </a:lnTo>
                    <a:lnTo>
                      <a:pt x="16" y="61"/>
                    </a:lnTo>
                    <a:lnTo>
                      <a:pt x="16" y="60"/>
                    </a:lnTo>
                    <a:lnTo>
                      <a:pt x="15" y="60"/>
                    </a:lnTo>
                    <a:lnTo>
                      <a:pt x="15" y="59"/>
                    </a:lnTo>
                    <a:lnTo>
                      <a:pt x="15" y="58"/>
                    </a:lnTo>
                    <a:lnTo>
                      <a:pt x="15" y="58"/>
                    </a:lnTo>
                    <a:lnTo>
                      <a:pt x="15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3" y="56"/>
                    </a:lnTo>
                    <a:lnTo>
                      <a:pt x="13" y="56"/>
                    </a:lnTo>
                    <a:lnTo>
                      <a:pt x="13" y="56"/>
                    </a:lnTo>
                    <a:lnTo>
                      <a:pt x="13" y="55"/>
                    </a:lnTo>
                    <a:lnTo>
                      <a:pt x="14" y="55"/>
                    </a:lnTo>
                    <a:lnTo>
                      <a:pt x="14" y="54"/>
                    </a:lnTo>
                    <a:lnTo>
                      <a:pt x="15" y="53"/>
                    </a:lnTo>
                    <a:lnTo>
                      <a:pt x="16" y="52"/>
                    </a:lnTo>
                    <a:lnTo>
                      <a:pt x="17" y="51"/>
                    </a:lnTo>
                    <a:lnTo>
                      <a:pt x="18" y="51"/>
                    </a:lnTo>
                    <a:lnTo>
                      <a:pt x="18" y="50"/>
                    </a:lnTo>
                    <a:lnTo>
                      <a:pt x="19" y="50"/>
                    </a:lnTo>
                    <a:lnTo>
                      <a:pt x="19" y="49"/>
                    </a:lnTo>
                    <a:lnTo>
                      <a:pt x="19" y="48"/>
                    </a:lnTo>
                    <a:lnTo>
                      <a:pt x="25" y="48"/>
                    </a:lnTo>
                    <a:lnTo>
                      <a:pt x="24" y="49"/>
                    </a:lnTo>
                    <a:lnTo>
                      <a:pt x="24" y="49"/>
                    </a:lnTo>
                    <a:lnTo>
                      <a:pt x="25" y="49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6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8" y="49"/>
                    </a:lnTo>
                    <a:lnTo>
                      <a:pt x="38" y="49"/>
                    </a:lnTo>
                    <a:lnTo>
                      <a:pt x="38" y="49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9" y="48"/>
                    </a:lnTo>
                    <a:lnTo>
                      <a:pt x="39" y="48"/>
                    </a:lnTo>
                    <a:lnTo>
                      <a:pt x="39" y="47"/>
                    </a:lnTo>
                    <a:lnTo>
                      <a:pt x="39" y="47"/>
                    </a:lnTo>
                    <a:lnTo>
                      <a:pt x="39" y="46"/>
                    </a:lnTo>
                    <a:lnTo>
                      <a:pt x="39" y="45"/>
                    </a:lnTo>
                    <a:lnTo>
                      <a:pt x="39" y="44"/>
                    </a:lnTo>
                    <a:lnTo>
                      <a:pt x="39" y="43"/>
                    </a:lnTo>
                    <a:lnTo>
                      <a:pt x="40" y="43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6" y="42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34" y="40"/>
                    </a:lnTo>
                    <a:lnTo>
                      <a:pt x="33" y="40"/>
                    </a:lnTo>
                    <a:lnTo>
                      <a:pt x="33" y="40"/>
                    </a:lnTo>
                    <a:lnTo>
                      <a:pt x="32" y="40"/>
                    </a:lnTo>
                    <a:lnTo>
                      <a:pt x="32" y="39"/>
                    </a:lnTo>
                    <a:lnTo>
                      <a:pt x="31" y="39"/>
                    </a:lnTo>
                    <a:lnTo>
                      <a:pt x="30" y="39"/>
                    </a:lnTo>
                    <a:lnTo>
                      <a:pt x="30" y="38"/>
                    </a:lnTo>
                    <a:lnTo>
                      <a:pt x="29" y="38"/>
                    </a:lnTo>
                    <a:lnTo>
                      <a:pt x="29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7"/>
                    </a:lnTo>
                    <a:lnTo>
                      <a:pt x="28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26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3" y="36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4" y="35"/>
                    </a:lnTo>
                    <a:lnTo>
                      <a:pt x="26" y="34"/>
                    </a:lnTo>
                    <a:lnTo>
                      <a:pt x="27" y="34"/>
                    </a:lnTo>
                    <a:lnTo>
                      <a:pt x="28" y="33"/>
                    </a:lnTo>
                    <a:lnTo>
                      <a:pt x="29" y="33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1" y="31"/>
                    </a:lnTo>
                    <a:lnTo>
                      <a:pt x="31" y="30"/>
                    </a:lnTo>
                    <a:lnTo>
                      <a:pt x="31" y="30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6" y="27"/>
                    </a:lnTo>
                    <a:lnTo>
                      <a:pt x="25" y="27"/>
                    </a:lnTo>
                    <a:lnTo>
                      <a:pt x="24" y="27"/>
                    </a:lnTo>
                    <a:lnTo>
                      <a:pt x="24" y="27"/>
                    </a:lnTo>
                    <a:lnTo>
                      <a:pt x="23" y="27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2" y="26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1" y="25"/>
                    </a:lnTo>
                    <a:lnTo>
                      <a:pt x="21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5"/>
                    </a:lnTo>
                    <a:lnTo>
                      <a:pt x="23" y="24"/>
                    </a:lnTo>
                    <a:lnTo>
                      <a:pt x="23" y="24"/>
                    </a:lnTo>
                    <a:lnTo>
                      <a:pt x="23" y="24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21"/>
                    </a:lnTo>
                    <a:lnTo>
                      <a:pt x="23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3" y="17"/>
                    </a:lnTo>
                    <a:lnTo>
                      <a:pt x="28" y="17"/>
                    </a:lnTo>
                    <a:lnTo>
                      <a:pt x="28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5" y="18"/>
                    </a:lnTo>
                    <a:lnTo>
                      <a:pt x="39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9" y="18"/>
                    </a:lnTo>
                    <a:lnTo>
                      <a:pt x="50" y="18"/>
                    </a:lnTo>
                    <a:lnTo>
                      <a:pt x="51" y="18"/>
                    </a:lnTo>
                    <a:lnTo>
                      <a:pt x="52" y="18"/>
                    </a:lnTo>
                    <a:lnTo>
                      <a:pt x="53" y="18"/>
                    </a:lnTo>
                    <a:lnTo>
                      <a:pt x="53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6" y="17"/>
                    </a:lnTo>
                    <a:lnTo>
                      <a:pt x="56" y="17"/>
                    </a:lnTo>
                    <a:lnTo>
                      <a:pt x="57" y="17"/>
                    </a:lnTo>
                    <a:lnTo>
                      <a:pt x="58" y="17"/>
                    </a:lnTo>
                    <a:lnTo>
                      <a:pt x="59" y="17"/>
                    </a:lnTo>
                    <a:lnTo>
                      <a:pt x="59" y="16"/>
                    </a:lnTo>
                    <a:lnTo>
                      <a:pt x="60" y="16"/>
                    </a:lnTo>
                    <a:lnTo>
                      <a:pt x="62" y="15"/>
                    </a:lnTo>
                    <a:lnTo>
                      <a:pt x="62" y="15"/>
                    </a:lnTo>
                    <a:lnTo>
                      <a:pt x="63" y="15"/>
                    </a:lnTo>
                    <a:lnTo>
                      <a:pt x="63" y="15"/>
                    </a:lnTo>
                    <a:lnTo>
                      <a:pt x="64" y="15"/>
                    </a:lnTo>
                    <a:lnTo>
                      <a:pt x="65" y="15"/>
                    </a:lnTo>
                    <a:lnTo>
                      <a:pt x="66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9" y="13"/>
                    </a:lnTo>
                    <a:lnTo>
                      <a:pt x="69" y="14"/>
                    </a:lnTo>
                    <a:lnTo>
                      <a:pt x="70" y="14"/>
                    </a:lnTo>
                    <a:lnTo>
                      <a:pt x="71" y="14"/>
                    </a:lnTo>
                    <a:lnTo>
                      <a:pt x="72" y="13"/>
                    </a:lnTo>
                    <a:lnTo>
                      <a:pt x="73" y="13"/>
                    </a:lnTo>
                    <a:lnTo>
                      <a:pt x="74" y="13"/>
                    </a:lnTo>
                    <a:lnTo>
                      <a:pt x="75" y="12"/>
                    </a:lnTo>
                    <a:lnTo>
                      <a:pt x="75" y="12"/>
                    </a:lnTo>
                    <a:lnTo>
                      <a:pt x="77" y="11"/>
                    </a:lnTo>
                    <a:lnTo>
                      <a:pt x="78" y="11"/>
                    </a:lnTo>
                    <a:lnTo>
                      <a:pt x="79" y="10"/>
                    </a:lnTo>
                    <a:lnTo>
                      <a:pt x="79" y="10"/>
                    </a:lnTo>
                    <a:lnTo>
                      <a:pt x="80" y="10"/>
                    </a:lnTo>
                    <a:lnTo>
                      <a:pt x="82" y="10"/>
                    </a:lnTo>
                    <a:lnTo>
                      <a:pt x="83" y="10"/>
                    </a:lnTo>
                    <a:lnTo>
                      <a:pt x="83" y="10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5" y="12"/>
                    </a:lnTo>
                    <a:lnTo>
                      <a:pt x="86" y="12"/>
                    </a:lnTo>
                    <a:lnTo>
                      <a:pt x="87" y="12"/>
                    </a:lnTo>
                    <a:lnTo>
                      <a:pt x="88" y="12"/>
                    </a:lnTo>
                    <a:lnTo>
                      <a:pt x="90" y="12"/>
                    </a:lnTo>
                    <a:lnTo>
                      <a:pt x="92" y="12"/>
                    </a:lnTo>
                    <a:lnTo>
                      <a:pt x="94" y="12"/>
                    </a:lnTo>
                    <a:lnTo>
                      <a:pt x="96" y="12"/>
                    </a:lnTo>
                    <a:lnTo>
                      <a:pt x="97" y="12"/>
                    </a:lnTo>
                    <a:lnTo>
                      <a:pt x="97" y="12"/>
                    </a:lnTo>
                    <a:lnTo>
                      <a:pt x="97" y="12"/>
                    </a:lnTo>
                    <a:lnTo>
                      <a:pt x="97" y="11"/>
                    </a:lnTo>
                    <a:lnTo>
                      <a:pt x="98" y="11"/>
                    </a:lnTo>
                    <a:lnTo>
                      <a:pt x="98" y="11"/>
                    </a:lnTo>
                    <a:lnTo>
                      <a:pt x="98" y="10"/>
                    </a:lnTo>
                    <a:lnTo>
                      <a:pt x="98" y="10"/>
                    </a:lnTo>
                    <a:lnTo>
                      <a:pt x="98" y="10"/>
                    </a:lnTo>
                    <a:lnTo>
                      <a:pt x="99" y="10"/>
                    </a:lnTo>
                    <a:lnTo>
                      <a:pt x="99" y="10"/>
                    </a:lnTo>
                    <a:lnTo>
                      <a:pt x="99" y="10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8"/>
                    </a:lnTo>
                    <a:lnTo>
                      <a:pt x="99" y="7"/>
                    </a:lnTo>
                    <a:lnTo>
                      <a:pt x="99" y="7"/>
                    </a:lnTo>
                    <a:lnTo>
                      <a:pt x="99" y="6"/>
                    </a:lnTo>
                    <a:lnTo>
                      <a:pt x="99" y="5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1" y="4"/>
                    </a:lnTo>
                    <a:lnTo>
                      <a:pt x="101" y="4"/>
                    </a:lnTo>
                    <a:lnTo>
                      <a:pt x="101" y="4"/>
                    </a:lnTo>
                    <a:lnTo>
                      <a:pt x="101" y="3"/>
                    </a:lnTo>
                    <a:lnTo>
                      <a:pt x="102" y="3"/>
                    </a:lnTo>
                    <a:lnTo>
                      <a:pt x="102" y="3"/>
                    </a:lnTo>
                    <a:lnTo>
                      <a:pt x="102" y="3"/>
                    </a:lnTo>
                    <a:lnTo>
                      <a:pt x="103" y="3"/>
                    </a:lnTo>
                    <a:lnTo>
                      <a:pt x="103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5" y="2"/>
                    </a:lnTo>
                    <a:lnTo>
                      <a:pt x="106" y="2"/>
                    </a:lnTo>
                    <a:lnTo>
                      <a:pt x="107" y="2"/>
                    </a:lnTo>
                    <a:lnTo>
                      <a:pt x="108" y="2"/>
                    </a:lnTo>
                    <a:lnTo>
                      <a:pt x="108" y="2"/>
                    </a:lnTo>
                    <a:lnTo>
                      <a:pt x="108" y="2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0"/>
                    </a:lnTo>
                    <a:lnTo>
                      <a:pt x="109" y="0"/>
                    </a:lnTo>
                    <a:lnTo>
                      <a:pt x="109" y="0"/>
                    </a:lnTo>
                    <a:moveTo>
                      <a:pt x="11" y="85"/>
                    </a:moveTo>
                    <a:lnTo>
                      <a:pt x="11" y="85"/>
                    </a:lnTo>
                    <a:lnTo>
                      <a:pt x="11" y="85"/>
                    </a:lnTo>
                    <a:lnTo>
                      <a:pt x="10" y="85"/>
                    </a:lnTo>
                    <a:lnTo>
                      <a:pt x="10" y="85"/>
                    </a:lnTo>
                    <a:lnTo>
                      <a:pt x="9" y="85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10" y="87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1" y="86"/>
                    </a:lnTo>
                    <a:lnTo>
                      <a:pt x="11" y="86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</a:path>
                </a:pathLst>
              </a:custGeom>
              <a:solidFill>
                <a:srgbClr val="D9D9D9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76" name="Freeform 4"/>
              <p:cNvSpPr>
                <a:spLocks/>
              </p:cNvSpPr>
              <p:nvPr/>
            </p:nvSpPr>
            <p:spPr bwMode="auto">
              <a:xfrm>
                <a:off x="4132842" y="1866234"/>
                <a:ext cx="1648332" cy="1206830"/>
              </a:xfrm>
              <a:custGeom>
                <a:avLst/>
                <a:gdLst/>
                <a:ahLst/>
                <a:cxnLst>
                  <a:cxn ang="0">
                    <a:pos x="81" y="1"/>
                  </a:cxn>
                  <a:cxn ang="0">
                    <a:pos x="88" y="6"/>
                  </a:cxn>
                  <a:cxn ang="0">
                    <a:pos x="92" y="10"/>
                  </a:cxn>
                  <a:cxn ang="0">
                    <a:pos x="93" y="9"/>
                  </a:cxn>
                  <a:cxn ang="0">
                    <a:pos x="113" y="11"/>
                  </a:cxn>
                  <a:cxn ang="0">
                    <a:pos x="118" y="15"/>
                  </a:cxn>
                  <a:cxn ang="0">
                    <a:pos x="123" y="21"/>
                  </a:cxn>
                  <a:cxn ang="0">
                    <a:pos x="128" y="19"/>
                  </a:cxn>
                  <a:cxn ang="0">
                    <a:pos x="136" y="19"/>
                  </a:cxn>
                  <a:cxn ang="0">
                    <a:pos x="143" y="24"/>
                  </a:cxn>
                  <a:cxn ang="0">
                    <a:pos x="152" y="25"/>
                  </a:cxn>
                  <a:cxn ang="0">
                    <a:pos x="157" y="27"/>
                  </a:cxn>
                  <a:cxn ang="0">
                    <a:pos x="163" y="33"/>
                  </a:cxn>
                  <a:cxn ang="0">
                    <a:pos x="165" y="42"/>
                  </a:cxn>
                  <a:cxn ang="0">
                    <a:pos x="163" y="52"/>
                  </a:cxn>
                  <a:cxn ang="0">
                    <a:pos x="162" y="61"/>
                  </a:cxn>
                  <a:cxn ang="0">
                    <a:pos x="160" y="66"/>
                  </a:cxn>
                  <a:cxn ang="0">
                    <a:pos x="159" y="69"/>
                  </a:cxn>
                  <a:cxn ang="0">
                    <a:pos x="162" y="74"/>
                  </a:cxn>
                  <a:cxn ang="0">
                    <a:pos x="153" y="80"/>
                  </a:cxn>
                  <a:cxn ang="0">
                    <a:pos x="142" y="89"/>
                  </a:cxn>
                  <a:cxn ang="0">
                    <a:pos x="137" y="93"/>
                  </a:cxn>
                  <a:cxn ang="0">
                    <a:pos x="132" y="96"/>
                  </a:cxn>
                  <a:cxn ang="0">
                    <a:pos x="129" y="101"/>
                  </a:cxn>
                  <a:cxn ang="0">
                    <a:pos x="122" y="102"/>
                  </a:cxn>
                  <a:cxn ang="0">
                    <a:pos x="118" y="99"/>
                  </a:cxn>
                  <a:cxn ang="0">
                    <a:pos x="116" y="95"/>
                  </a:cxn>
                  <a:cxn ang="0">
                    <a:pos x="109" y="97"/>
                  </a:cxn>
                  <a:cxn ang="0">
                    <a:pos x="104" y="103"/>
                  </a:cxn>
                  <a:cxn ang="0">
                    <a:pos x="100" y="112"/>
                  </a:cxn>
                  <a:cxn ang="0">
                    <a:pos x="87" y="111"/>
                  </a:cxn>
                  <a:cxn ang="0">
                    <a:pos x="78" y="109"/>
                  </a:cxn>
                  <a:cxn ang="0">
                    <a:pos x="75" y="104"/>
                  </a:cxn>
                  <a:cxn ang="0">
                    <a:pos x="71" y="102"/>
                  </a:cxn>
                  <a:cxn ang="0">
                    <a:pos x="64" y="98"/>
                  </a:cxn>
                  <a:cxn ang="0">
                    <a:pos x="58" y="96"/>
                  </a:cxn>
                  <a:cxn ang="0">
                    <a:pos x="52" y="100"/>
                  </a:cxn>
                  <a:cxn ang="0">
                    <a:pos x="46" y="98"/>
                  </a:cxn>
                  <a:cxn ang="0">
                    <a:pos x="33" y="95"/>
                  </a:cxn>
                  <a:cxn ang="0">
                    <a:pos x="24" y="89"/>
                  </a:cxn>
                  <a:cxn ang="0">
                    <a:pos x="16" y="85"/>
                  </a:cxn>
                  <a:cxn ang="0">
                    <a:pos x="11" y="80"/>
                  </a:cxn>
                  <a:cxn ang="0">
                    <a:pos x="3" y="80"/>
                  </a:cxn>
                  <a:cxn ang="0">
                    <a:pos x="1" y="68"/>
                  </a:cxn>
                  <a:cxn ang="0">
                    <a:pos x="5" y="58"/>
                  </a:cxn>
                  <a:cxn ang="0">
                    <a:pos x="13" y="48"/>
                  </a:cxn>
                  <a:cxn ang="0">
                    <a:pos x="19" y="41"/>
                  </a:cxn>
                  <a:cxn ang="0">
                    <a:pos x="27" y="40"/>
                  </a:cxn>
                  <a:cxn ang="0">
                    <a:pos x="35" y="37"/>
                  </a:cxn>
                  <a:cxn ang="0">
                    <a:pos x="44" y="36"/>
                  </a:cxn>
                  <a:cxn ang="0">
                    <a:pos x="56" y="27"/>
                  </a:cxn>
                  <a:cxn ang="0">
                    <a:pos x="59" y="24"/>
                  </a:cxn>
                  <a:cxn ang="0">
                    <a:pos x="58" y="21"/>
                  </a:cxn>
                  <a:cxn ang="0">
                    <a:pos x="55" y="15"/>
                  </a:cxn>
                  <a:cxn ang="0">
                    <a:pos x="55" y="11"/>
                  </a:cxn>
                  <a:cxn ang="0">
                    <a:pos x="58" y="4"/>
                  </a:cxn>
                  <a:cxn ang="0">
                    <a:pos x="67" y="2"/>
                  </a:cxn>
                  <a:cxn ang="0">
                    <a:pos x="75" y="2"/>
                  </a:cxn>
                </a:cxnLst>
                <a:rect l="0" t="0" r="r" b="b"/>
                <a:pathLst>
                  <a:path w="166" h="112">
                    <a:moveTo>
                      <a:pt x="75" y="1"/>
                    </a:moveTo>
                    <a:lnTo>
                      <a:pt x="76" y="0"/>
                    </a:lnTo>
                    <a:lnTo>
                      <a:pt x="77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9" y="0"/>
                    </a:lnTo>
                    <a:lnTo>
                      <a:pt x="80" y="0"/>
                    </a:lnTo>
                    <a:lnTo>
                      <a:pt x="81" y="1"/>
                    </a:lnTo>
                    <a:lnTo>
                      <a:pt x="82" y="1"/>
                    </a:lnTo>
                    <a:lnTo>
                      <a:pt x="83" y="2"/>
                    </a:lnTo>
                    <a:lnTo>
                      <a:pt x="84" y="2"/>
                    </a:lnTo>
                    <a:lnTo>
                      <a:pt x="85" y="3"/>
                    </a:lnTo>
                    <a:lnTo>
                      <a:pt x="85" y="4"/>
                    </a:lnTo>
                    <a:lnTo>
                      <a:pt x="86" y="5"/>
                    </a:lnTo>
                    <a:lnTo>
                      <a:pt x="87" y="6"/>
                    </a:lnTo>
                    <a:lnTo>
                      <a:pt x="88" y="6"/>
                    </a:lnTo>
                    <a:lnTo>
                      <a:pt x="89" y="7"/>
                    </a:lnTo>
                    <a:lnTo>
                      <a:pt x="90" y="8"/>
                    </a:lnTo>
                    <a:lnTo>
                      <a:pt x="91" y="8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5" y="9"/>
                    </a:lnTo>
                    <a:lnTo>
                      <a:pt x="98" y="9"/>
                    </a:lnTo>
                    <a:lnTo>
                      <a:pt x="102" y="10"/>
                    </a:lnTo>
                    <a:lnTo>
                      <a:pt x="104" y="10"/>
                    </a:lnTo>
                    <a:lnTo>
                      <a:pt x="107" y="10"/>
                    </a:lnTo>
                    <a:lnTo>
                      <a:pt x="109" y="10"/>
                    </a:lnTo>
                    <a:lnTo>
                      <a:pt x="111" y="11"/>
                    </a:lnTo>
                    <a:lnTo>
                      <a:pt x="113" y="11"/>
                    </a:lnTo>
                    <a:lnTo>
                      <a:pt x="114" y="11"/>
                    </a:lnTo>
                    <a:lnTo>
                      <a:pt x="114" y="12"/>
                    </a:lnTo>
                    <a:lnTo>
                      <a:pt x="115" y="12"/>
                    </a:lnTo>
                    <a:lnTo>
                      <a:pt x="116" y="13"/>
                    </a:lnTo>
                    <a:lnTo>
                      <a:pt x="117" y="13"/>
                    </a:lnTo>
                    <a:lnTo>
                      <a:pt x="117" y="14"/>
                    </a:lnTo>
                    <a:lnTo>
                      <a:pt x="118" y="14"/>
                    </a:lnTo>
                    <a:lnTo>
                      <a:pt x="118" y="15"/>
                    </a:lnTo>
                    <a:lnTo>
                      <a:pt x="119" y="16"/>
                    </a:lnTo>
                    <a:lnTo>
                      <a:pt x="119" y="16"/>
                    </a:lnTo>
                    <a:lnTo>
                      <a:pt x="119" y="17"/>
                    </a:lnTo>
                    <a:lnTo>
                      <a:pt x="120" y="18"/>
                    </a:lnTo>
                    <a:lnTo>
                      <a:pt x="120" y="19"/>
                    </a:lnTo>
                    <a:lnTo>
                      <a:pt x="120" y="21"/>
                    </a:lnTo>
                    <a:lnTo>
                      <a:pt x="122" y="21"/>
                    </a:lnTo>
                    <a:lnTo>
                      <a:pt x="123" y="21"/>
                    </a:lnTo>
                    <a:lnTo>
                      <a:pt x="125" y="21"/>
                    </a:lnTo>
                    <a:lnTo>
                      <a:pt x="127" y="21"/>
                    </a:lnTo>
                    <a:lnTo>
                      <a:pt x="127" y="21"/>
                    </a:lnTo>
                    <a:lnTo>
                      <a:pt x="127" y="21"/>
                    </a:lnTo>
                    <a:lnTo>
                      <a:pt x="128" y="20"/>
                    </a:lnTo>
                    <a:lnTo>
                      <a:pt x="128" y="20"/>
                    </a:lnTo>
                    <a:lnTo>
                      <a:pt x="128" y="20"/>
                    </a:lnTo>
                    <a:lnTo>
                      <a:pt x="128" y="19"/>
                    </a:lnTo>
                    <a:lnTo>
                      <a:pt x="128" y="19"/>
                    </a:lnTo>
                    <a:lnTo>
                      <a:pt x="128" y="19"/>
                    </a:lnTo>
                    <a:lnTo>
                      <a:pt x="130" y="19"/>
                    </a:lnTo>
                    <a:lnTo>
                      <a:pt x="132" y="19"/>
                    </a:lnTo>
                    <a:lnTo>
                      <a:pt x="133" y="19"/>
                    </a:lnTo>
                    <a:lnTo>
                      <a:pt x="135" y="19"/>
                    </a:lnTo>
                    <a:lnTo>
                      <a:pt x="135" y="19"/>
                    </a:lnTo>
                    <a:lnTo>
                      <a:pt x="136" y="19"/>
                    </a:lnTo>
                    <a:lnTo>
                      <a:pt x="136" y="19"/>
                    </a:lnTo>
                    <a:lnTo>
                      <a:pt x="137" y="19"/>
                    </a:lnTo>
                    <a:lnTo>
                      <a:pt x="138" y="19"/>
                    </a:lnTo>
                    <a:lnTo>
                      <a:pt x="138" y="20"/>
                    </a:lnTo>
                    <a:lnTo>
                      <a:pt x="140" y="21"/>
                    </a:lnTo>
                    <a:lnTo>
                      <a:pt x="141" y="22"/>
                    </a:lnTo>
                    <a:lnTo>
                      <a:pt x="142" y="23"/>
                    </a:lnTo>
                    <a:lnTo>
                      <a:pt x="143" y="24"/>
                    </a:lnTo>
                    <a:lnTo>
                      <a:pt x="144" y="24"/>
                    </a:lnTo>
                    <a:lnTo>
                      <a:pt x="145" y="25"/>
                    </a:lnTo>
                    <a:lnTo>
                      <a:pt x="146" y="25"/>
                    </a:lnTo>
                    <a:lnTo>
                      <a:pt x="147" y="25"/>
                    </a:lnTo>
                    <a:lnTo>
                      <a:pt x="148" y="26"/>
                    </a:lnTo>
                    <a:lnTo>
                      <a:pt x="149" y="26"/>
                    </a:lnTo>
                    <a:lnTo>
                      <a:pt x="150" y="26"/>
                    </a:lnTo>
                    <a:lnTo>
                      <a:pt x="152" y="25"/>
                    </a:lnTo>
                    <a:lnTo>
                      <a:pt x="152" y="25"/>
                    </a:lnTo>
                    <a:lnTo>
                      <a:pt x="152" y="25"/>
                    </a:lnTo>
                    <a:lnTo>
                      <a:pt x="153" y="25"/>
                    </a:lnTo>
                    <a:lnTo>
                      <a:pt x="153" y="25"/>
                    </a:lnTo>
                    <a:lnTo>
                      <a:pt x="154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7" y="27"/>
                    </a:lnTo>
                    <a:lnTo>
                      <a:pt x="158" y="27"/>
                    </a:lnTo>
                    <a:lnTo>
                      <a:pt x="159" y="28"/>
                    </a:lnTo>
                    <a:lnTo>
                      <a:pt x="159" y="28"/>
                    </a:lnTo>
                    <a:lnTo>
                      <a:pt x="160" y="29"/>
                    </a:lnTo>
                    <a:lnTo>
                      <a:pt x="161" y="30"/>
                    </a:lnTo>
                    <a:lnTo>
                      <a:pt x="161" y="31"/>
                    </a:lnTo>
                    <a:lnTo>
                      <a:pt x="162" y="32"/>
                    </a:lnTo>
                    <a:lnTo>
                      <a:pt x="163" y="33"/>
                    </a:lnTo>
                    <a:lnTo>
                      <a:pt x="163" y="33"/>
                    </a:lnTo>
                    <a:lnTo>
                      <a:pt x="164" y="33"/>
                    </a:lnTo>
                    <a:lnTo>
                      <a:pt x="165" y="34"/>
                    </a:lnTo>
                    <a:lnTo>
                      <a:pt x="165" y="36"/>
                    </a:lnTo>
                    <a:lnTo>
                      <a:pt x="165" y="37"/>
                    </a:lnTo>
                    <a:lnTo>
                      <a:pt x="166" y="39"/>
                    </a:lnTo>
                    <a:lnTo>
                      <a:pt x="165" y="41"/>
                    </a:lnTo>
                    <a:lnTo>
                      <a:pt x="165" y="42"/>
                    </a:lnTo>
                    <a:lnTo>
                      <a:pt x="165" y="44"/>
                    </a:lnTo>
                    <a:lnTo>
                      <a:pt x="165" y="45"/>
                    </a:lnTo>
                    <a:lnTo>
                      <a:pt x="165" y="47"/>
                    </a:lnTo>
                    <a:lnTo>
                      <a:pt x="164" y="48"/>
                    </a:lnTo>
                    <a:lnTo>
                      <a:pt x="164" y="49"/>
                    </a:lnTo>
                    <a:lnTo>
                      <a:pt x="163" y="50"/>
                    </a:lnTo>
                    <a:lnTo>
                      <a:pt x="163" y="51"/>
                    </a:lnTo>
                    <a:lnTo>
                      <a:pt x="163" y="52"/>
                    </a:lnTo>
                    <a:lnTo>
                      <a:pt x="162" y="53"/>
                    </a:lnTo>
                    <a:lnTo>
                      <a:pt x="162" y="54"/>
                    </a:lnTo>
                    <a:lnTo>
                      <a:pt x="162" y="56"/>
                    </a:lnTo>
                    <a:lnTo>
                      <a:pt x="161" y="56"/>
                    </a:lnTo>
                    <a:lnTo>
                      <a:pt x="161" y="57"/>
                    </a:lnTo>
                    <a:lnTo>
                      <a:pt x="161" y="58"/>
                    </a:lnTo>
                    <a:lnTo>
                      <a:pt x="161" y="59"/>
                    </a:lnTo>
                    <a:lnTo>
                      <a:pt x="162" y="61"/>
                    </a:lnTo>
                    <a:lnTo>
                      <a:pt x="162" y="62"/>
                    </a:lnTo>
                    <a:lnTo>
                      <a:pt x="162" y="63"/>
                    </a:lnTo>
                    <a:lnTo>
                      <a:pt x="162" y="63"/>
                    </a:lnTo>
                    <a:lnTo>
                      <a:pt x="161" y="64"/>
                    </a:lnTo>
                    <a:lnTo>
                      <a:pt x="161" y="65"/>
                    </a:lnTo>
                    <a:lnTo>
                      <a:pt x="161" y="65"/>
                    </a:lnTo>
                    <a:lnTo>
                      <a:pt x="161" y="66"/>
                    </a:lnTo>
                    <a:lnTo>
                      <a:pt x="160" y="66"/>
                    </a:lnTo>
                    <a:lnTo>
                      <a:pt x="160" y="67"/>
                    </a:lnTo>
                    <a:lnTo>
                      <a:pt x="159" y="67"/>
                    </a:lnTo>
                    <a:lnTo>
                      <a:pt x="159" y="67"/>
                    </a:lnTo>
                    <a:lnTo>
                      <a:pt x="158" y="67"/>
                    </a:lnTo>
                    <a:lnTo>
                      <a:pt x="159" y="68"/>
                    </a:lnTo>
                    <a:lnTo>
                      <a:pt x="159" y="68"/>
                    </a:lnTo>
                    <a:lnTo>
                      <a:pt x="159" y="69"/>
                    </a:lnTo>
                    <a:lnTo>
                      <a:pt x="159" y="69"/>
                    </a:lnTo>
                    <a:lnTo>
                      <a:pt x="160" y="70"/>
                    </a:lnTo>
                    <a:lnTo>
                      <a:pt x="161" y="70"/>
                    </a:lnTo>
                    <a:lnTo>
                      <a:pt x="161" y="71"/>
                    </a:lnTo>
                    <a:lnTo>
                      <a:pt x="161" y="71"/>
                    </a:lnTo>
                    <a:lnTo>
                      <a:pt x="162" y="72"/>
                    </a:lnTo>
                    <a:lnTo>
                      <a:pt x="162" y="72"/>
                    </a:lnTo>
                    <a:lnTo>
                      <a:pt x="162" y="73"/>
                    </a:lnTo>
                    <a:lnTo>
                      <a:pt x="162" y="74"/>
                    </a:lnTo>
                    <a:lnTo>
                      <a:pt x="162" y="74"/>
                    </a:lnTo>
                    <a:lnTo>
                      <a:pt x="162" y="75"/>
                    </a:lnTo>
                    <a:lnTo>
                      <a:pt x="160" y="76"/>
                    </a:lnTo>
                    <a:lnTo>
                      <a:pt x="159" y="76"/>
                    </a:lnTo>
                    <a:lnTo>
                      <a:pt x="157" y="77"/>
                    </a:lnTo>
                    <a:lnTo>
                      <a:pt x="156" y="78"/>
                    </a:lnTo>
                    <a:lnTo>
                      <a:pt x="154" y="78"/>
                    </a:lnTo>
                    <a:lnTo>
                      <a:pt x="153" y="80"/>
                    </a:lnTo>
                    <a:lnTo>
                      <a:pt x="152" y="80"/>
                    </a:lnTo>
                    <a:lnTo>
                      <a:pt x="151" y="81"/>
                    </a:lnTo>
                    <a:lnTo>
                      <a:pt x="149" y="83"/>
                    </a:lnTo>
                    <a:lnTo>
                      <a:pt x="146" y="85"/>
                    </a:lnTo>
                    <a:lnTo>
                      <a:pt x="145" y="86"/>
                    </a:lnTo>
                    <a:lnTo>
                      <a:pt x="144" y="87"/>
                    </a:lnTo>
                    <a:lnTo>
                      <a:pt x="143" y="88"/>
                    </a:lnTo>
                    <a:lnTo>
                      <a:pt x="142" y="89"/>
                    </a:lnTo>
                    <a:lnTo>
                      <a:pt x="141" y="89"/>
                    </a:lnTo>
                    <a:lnTo>
                      <a:pt x="140" y="89"/>
                    </a:lnTo>
                    <a:lnTo>
                      <a:pt x="140" y="90"/>
                    </a:lnTo>
                    <a:lnTo>
                      <a:pt x="139" y="90"/>
                    </a:lnTo>
                    <a:lnTo>
                      <a:pt x="139" y="91"/>
                    </a:lnTo>
                    <a:lnTo>
                      <a:pt x="138" y="91"/>
                    </a:lnTo>
                    <a:lnTo>
                      <a:pt x="137" y="93"/>
                    </a:lnTo>
                    <a:lnTo>
                      <a:pt x="137" y="93"/>
                    </a:lnTo>
                    <a:lnTo>
                      <a:pt x="136" y="94"/>
                    </a:lnTo>
                    <a:lnTo>
                      <a:pt x="136" y="94"/>
                    </a:lnTo>
                    <a:lnTo>
                      <a:pt x="135" y="95"/>
                    </a:lnTo>
                    <a:lnTo>
                      <a:pt x="134" y="95"/>
                    </a:lnTo>
                    <a:lnTo>
                      <a:pt x="134" y="95"/>
                    </a:lnTo>
                    <a:lnTo>
                      <a:pt x="133" y="95"/>
                    </a:lnTo>
                    <a:lnTo>
                      <a:pt x="132" y="95"/>
                    </a:lnTo>
                    <a:lnTo>
                      <a:pt x="132" y="96"/>
                    </a:lnTo>
                    <a:lnTo>
                      <a:pt x="131" y="97"/>
                    </a:lnTo>
                    <a:lnTo>
                      <a:pt x="131" y="98"/>
                    </a:lnTo>
                    <a:lnTo>
                      <a:pt x="131" y="98"/>
                    </a:lnTo>
                    <a:lnTo>
                      <a:pt x="131" y="99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101"/>
                    </a:lnTo>
                    <a:lnTo>
                      <a:pt x="129" y="101"/>
                    </a:lnTo>
                    <a:lnTo>
                      <a:pt x="128" y="101"/>
                    </a:lnTo>
                    <a:lnTo>
                      <a:pt x="128" y="102"/>
                    </a:lnTo>
                    <a:lnTo>
                      <a:pt x="127" y="102"/>
                    </a:lnTo>
                    <a:lnTo>
                      <a:pt x="126" y="102"/>
                    </a:lnTo>
                    <a:lnTo>
                      <a:pt x="125" y="102"/>
                    </a:lnTo>
                    <a:lnTo>
                      <a:pt x="124" y="102"/>
                    </a:lnTo>
                    <a:lnTo>
                      <a:pt x="123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1" y="102"/>
                    </a:lnTo>
                    <a:lnTo>
                      <a:pt x="120" y="102"/>
                    </a:lnTo>
                    <a:lnTo>
                      <a:pt x="120" y="101"/>
                    </a:lnTo>
                    <a:lnTo>
                      <a:pt x="119" y="101"/>
                    </a:lnTo>
                    <a:lnTo>
                      <a:pt x="119" y="100"/>
                    </a:lnTo>
                    <a:lnTo>
                      <a:pt x="119" y="100"/>
                    </a:lnTo>
                    <a:lnTo>
                      <a:pt x="118" y="99"/>
                    </a:lnTo>
                    <a:lnTo>
                      <a:pt x="118" y="99"/>
                    </a:lnTo>
                    <a:lnTo>
                      <a:pt x="118" y="98"/>
                    </a:lnTo>
                    <a:lnTo>
                      <a:pt x="118" y="97"/>
                    </a:lnTo>
                    <a:lnTo>
                      <a:pt x="118" y="95"/>
                    </a:lnTo>
                    <a:lnTo>
                      <a:pt x="118" y="94"/>
                    </a:lnTo>
                    <a:lnTo>
                      <a:pt x="118" y="94"/>
                    </a:lnTo>
                    <a:lnTo>
                      <a:pt x="117" y="94"/>
                    </a:lnTo>
                    <a:lnTo>
                      <a:pt x="116" y="95"/>
                    </a:lnTo>
                    <a:lnTo>
                      <a:pt x="115" y="95"/>
                    </a:lnTo>
                    <a:lnTo>
                      <a:pt x="114" y="96"/>
                    </a:lnTo>
                    <a:lnTo>
                      <a:pt x="113" y="97"/>
                    </a:lnTo>
                    <a:lnTo>
                      <a:pt x="112" y="97"/>
                    </a:lnTo>
                    <a:lnTo>
                      <a:pt x="112" y="97"/>
                    </a:lnTo>
                    <a:lnTo>
                      <a:pt x="111" y="97"/>
                    </a:lnTo>
                    <a:lnTo>
                      <a:pt x="110" y="97"/>
                    </a:lnTo>
                    <a:lnTo>
                      <a:pt x="109" y="97"/>
                    </a:lnTo>
                    <a:lnTo>
                      <a:pt x="108" y="97"/>
                    </a:lnTo>
                    <a:lnTo>
                      <a:pt x="107" y="98"/>
                    </a:lnTo>
                    <a:lnTo>
                      <a:pt x="107" y="98"/>
                    </a:lnTo>
                    <a:lnTo>
                      <a:pt x="106" y="99"/>
                    </a:lnTo>
                    <a:lnTo>
                      <a:pt x="105" y="100"/>
                    </a:lnTo>
                    <a:lnTo>
                      <a:pt x="105" y="101"/>
                    </a:lnTo>
                    <a:lnTo>
                      <a:pt x="105" y="102"/>
                    </a:lnTo>
                    <a:lnTo>
                      <a:pt x="104" y="103"/>
                    </a:lnTo>
                    <a:lnTo>
                      <a:pt x="104" y="104"/>
                    </a:lnTo>
                    <a:lnTo>
                      <a:pt x="103" y="106"/>
                    </a:lnTo>
                    <a:lnTo>
                      <a:pt x="103" y="107"/>
                    </a:lnTo>
                    <a:lnTo>
                      <a:pt x="102" y="109"/>
                    </a:lnTo>
                    <a:lnTo>
                      <a:pt x="102" y="109"/>
                    </a:lnTo>
                    <a:lnTo>
                      <a:pt x="101" y="110"/>
                    </a:lnTo>
                    <a:lnTo>
                      <a:pt x="101" y="111"/>
                    </a:lnTo>
                    <a:lnTo>
                      <a:pt x="100" y="112"/>
                    </a:lnTo>
                    <a:lnTo>
                      <a:pt x="98" y="112"/>
                    </a:lnTo>
                    <a:lnTo>
                      <a:pt x="97" y="112"/>
                    </a:lnTo>
                    <a:lnTo>
                      <a:pt x="95" y="112"/>
                    </a:lnTo>
                    <a:lnTo>
                      <a:pt x="94" y="112"/>
                    </a:lnTo>
                    <a:lnTo>
                      <a:pt x="93" y="112"/>
                    </a:lnTo>
                    <a:lnTo>
                      <a:pt x="91" y="112"/>
                    </a:lnTo>
                    <a:lnTo>
                      <a:pt x="89" y="111"/>
                    </a:lnTo>
                    <a:lnTo>
                      <a:pt x="87" y="111"/>
                    </a:lnTo>
                    <a:lnTo>
                      <a:pt x="85" y="111"/>
                    </a:lnTo>
                    <a:lnTo>
                      <a:pt x="84" y="110"/>
                    </a:lnTo>
                    <a:lnTo>
                      <a:pt x="83" y="110"/>
                    </a:lnTo>
                    <a:lnTo>
                      <a:pt x="81" y="110"/>
                    </a:lnTo>
                    <a:lnTo>
                      <a:pt x="80" y="110"/>
                    </a:lnTo>
                    <a:lnTo>
                      <a:pt x="78" y="110"/>
                    </a:lnTo>
                    <a:lnTo>
                      <a:pt x="78" y="110"/>
                    </a:lnTo>
                    <a:lnTo>
                      <a:pt x="78" y="109"/>
                    </a:lnTo>
                    <a:lnTo>
                      <a:pt x="78" y="108"/>
                    </a:lnTo>
                    <a:lnTo>
                      <a:pt x="77" y="107"/>
                    </a:lnTo>
                    <a:lnTo>
                      <a:pt x="76" y="107"/>
                    </a:lnTo>
                    <a:lnTo>
                      <a:pt x="76" y="106"/>
                    </a:lnTo>
                    <a:lnTo>
                      <a:pt x="75" y="105"/>
                    </a:lnTo>
                    <a:lnTo>
                      <a:pt x="75" y="105"/>
                    </a:lnTo>
                    <a:lnTo>
                      <a:pt x="75" y="104"/>
                    </a:lnTo>
                    <a:lnTo>
                      <a:pt x="75" y="104"/>
                    </a:lnTo>
                    <a:lnTo>
                      <a:pt x="75" y="103"/>
                    </a:lnTo>
                    <a:lnTo>
                      <a:pt x="75" y="102"/>
                    </a:lnTo>
                    <a:lnTo>
                      <a:pt x="74" y="102"/>
                    </a:lnTo>
                    <a:lnTo>
                      <a:pt x="73" y="102"/>
                    </a:lnTo>
                    <a:lnTo>
                      <a:pt x="73" y="102"/>
                    </a:lnTo>
                    <a:lnTo>
                      <a:pt x="72" y="102"/>
                    </a:lnTo>
                    <a:lnTo>
                      <a:pt x="71" y="103"/>
                    </a:lnTo>
                    <a:lnTo>
                      <a:pt x="71" y="102"/>
                    </a:lnTo>
                    <a:lnTo>
                      <a:pt x="70" y="102"/>
                    </a:lnTo>
                    <a:lnTo>
                      <a:pt x="69" y="102"/>
                    </a:lnTo>
                    <a:lnTo>
                      <a:pt x="68" y="102"/>
                    </a:lnTo>
                    <a:lnTo>
                      <a:pt x="67" y="101"/>
                    </a:lnTo>
                    <a:lnTo>
                      <a:pt x="67" y="101"/>
                    </a:lnTo>
                    <a:lnTo>
                      <a:pt x="66" y="100"/>
                    </a:lnTo>
                    <a:lnTo>
                      <a:pt x="65" y="99"/>
                    </a:lnTo>
                    <a:lnTo>
                      <a:pt x="64" y="98"/>
                    </a:lnTo>
                    <a:lnTo>
                      <a:pt x="64" y="97"/>
                    </a:lnTo>
                    <a:lnTo>
                      <a:pt x="63" y="96"/>
                    </a:lnTo>
                    <a:lnTo>
                      <a:pt x="62" y="96"/>
                    </a:lnTo>
                    <a:lnTo>
                      <a:pt x="62" y="95"/>
                    </a:lnTo>
                    <a:lnTo>
                      <a:pt x="61" y="95"/>
                    </a:lnTo>
                    <a:lnTo>
                      <a:pt x="60" y="96"/>
                    </a:lnTo>
                    <a:lnTo>
                      <a:pt x="59" y="96"/>
                    </a:lnTo>
                    <a:lnTo>
                      <a:pt x="58" y="96"/>
                    </a:lnTo>
                    <a:lnTo>
                      <a:pt x="58" y="97"/>
                    </a:lnTo>
                    <a:lnTo>
                      <a:pt x="57" y="97"/>
                    </a:lnTo>
                    <a:lnTo>
                      <a:pt x="56" y="98"/>
                    </a:lnTo>
                    <a:lnTo>
                      <a:pt x="55" y="99"/>
                    </a:lnTo>
                    <a:lnTo>
                      <a:pt x="54" y="99"/>
                    </a:lnTo>
                    <a:lnTo>
                      <a:pt x="53" y="100"/>
                    </a:lnTo>
                    <a:lnTo>
                      <a:pt x="53" y="100"/>
                    </a:lnTo>
                    <a:lnTo>
                      <a:pt x="52" y="100"/>
                    </a:lnTo>
                    <a:lnTo>
                      <a:pt x="51" y="100"/>
                    </a:lnTo>
                    <a:lnTo>
                      <a:pt x="50" y="100"/>
                    </a:lnTo>
                    <a:lnTo>
                      <a:pt x="49" y="100"/>
                    </a:lnTo>
                    <a:lnTo>
                      <a:pt x="49" y="99"/>
                    </a:lnTo>
                    <a:lnTo>
                      <a:pt x="48" y="99"/>
                    </a:lnTo>
                    <a:lnTo>
                      <a:pt x="47" y="98"/>
                    </a:lnTo>
                    <a:lnTo>
                      <a:pt x="47" y="98"/>
                    </a:lnTo>
                    <a:lnTo>
                      <a:pt x="46" y="98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3" y="97"/>
                    </a:lnTo>
                    <a:lnTo>
                      <a:pt x="42" y="97"/>
                    </a:lnTo>
                    <a:lnTo>
                      <a:pt x="40" y="97"/>
                    </a:lnTo>
                    <a:lnTo>
                      <a:pt x="37" y="97"/>
                    </a:lnTo>
                    <a:lnTo>
                      <a:pt x="35" y="97"/>
                    </a:lnTo>
                    <a:lnTo>
                      <a:pt x="33" y="95"/>
                    </a:lnTo>
                    <a:lnTo>
                      <a:pt x="31" y="93"/>
                    </a:lnTo>
                    <a:lnTo>
                      <a:pt x="30" y="92"/>
                    </a:lnTo>
                    <a:lnTo>
                      <a:pt x="30" y="91"/>
                    </a:lnTo>
                    <a:lnTo>
                      <a:pt x="29" y="90"/>
                    </a:lnTo>
                    <a:lnTo>
                      <a:pt x="28" y="89"/>
                    </a:lnTo>
                    <a:lnTo>
                      <a:pt x="27" y="89"/>
                    </a:lnTo>
                    <a:lnTo>
                      <a:pt x="25" y="89"/>
                    </a:lnTo>
                    <a:lnTo>
                      <a:pt x="24" y="89"/>
                    </a:lnTo>
                    <a:lnTo>
                      <a:pt x="22" y="89"/>
                    </a:lnTo>
                    <a:lnTo>
                      <a:pt x="21" y="89"/>
                    </a:lnTo>
                    <a:lnTo>
                      <a:pt x="20" y="88"/>
                    </a:lnTo>
                    <a:lnTo>
                      <a:pt x="19" y="88"/>
                    </a:lnTo>
                    <a:lnTo>
                      <a:pt x="18" y="87"/>
                    </a:lnTo>
                    <a:lnTo>
                      <a:pt x="17" y="87"/>
                    </a:lnTo>
                    <a:lnTo>
                      <a:pt x="16" y="86"/>
                    </a:lnTo>
                    <a:lnTo>
                      <a:pt x="16" y="85"/>
                    </a:lnTo>
                    <a:lnTo>
                      <a:pt x="15" y="84"/>
                    </a:lnTo>
                    <a:lnTo>
                      <a:pt x="15" y="83"/>
                    </a:lnTo>
                    <a:lnTo>
                      <a:pt x="14" y="83"/>
                    </a:lnTo>
                    <a:lnTo>
                      <a:pt x="14" y="82"/>
                    </a:lnTo>
                    <a:lnTo>
                      <a:pt x="13" y="80"/>
                    </a:lnTo>
                    <a:lnTo>
                      <a:pt x="13" y="80"/>
                    </a:lnTo>
                    <a:lnTo>
                      <a:pt x="12" y="80"/>
                    </a:lnTo>
                    <a:lnTo>
                      <a:pt x="11" y="80"/>
                    </a:lnTo>
                    <a:lnTo>
                      <a:pt x="10" y="80"/>
                    </a:lnTo>
                    <a:lnTo>
                      <a:pt x="8" y="81"/>
                    </a:lnTo>
                    <a:lnTo>
                      <a:pt x="7" y="81"/>
                    </a:lnTo>
                    <a:lnTo>
                      <a:pt x="6" y="81"/>
                    </a:lnTo>
                    <a:lnTo>
                      <a:pt x="5" y="81"/>
                    </a:lnTo>
                    <a:lnTo>
                      <a:pt x="4" y="81"/>
                    </a:lnTo>
                    <a:lnTo>
                      <a:pt x="3" y="81"/>
                    </a:lnTo>
                    <a:lnTo>
                      <a:pt x="3" y="80"/>
                    </a:lnTo>
                    <a:lnTo>
                      <a:pt x="2" y="80"/>
                    </a:lnTo>
                    <a:lnTo>
                      <a:pt x="2" y="79"/>
                    </a:lnTo>
                    <a:lnTo>
                      <a:pt x="2" y="79"/>
                    </a:lnTo>
                    <a:lnTo>
                      <a:pt x="2" y="76"/>
                    </a:lnTo>
                    <a:lnTo>
                      <a:pt x="2" y="74"/>
                    </a:lnTo>
                    <a:lnTo>
                      <a:pt x="2" y="72"/>
                    </a:lnTo>
                    <a:lnTo>
                      <a:pt x="2" y="70"/>
                    </a:lnTo>
                    <a:lnTo>
                      <a:pt x="1" y="68"/>
                    </a:lnTo>
                    <a:lnTo>
                      <a:pt x="1" y="65"/>
                    </a:lnTo>
                    <a:lnTo>
                      <a:pt x="1" y="65"/>
                    </a:lnTo>
                    <a:lnTo>
                      <a:pt x="1" y="64"/>
                    </a:lnTo>
                    <a:lnTo>
                      <a:pt x="0" y="63"/>
                    </a:lnTo>
                    <a:lnTo>
                      <a:pt x="0" y="62"/>
                    </a:lnTo>
                    <a:lnTo>
                      <a:pt x="3" y="60"/>
                    </a:lnTo>
                    <a:lnTo>
                      <a:pt x="4" y="59"/>
                    </a:lnTo>
                    <a:lnTo>
                      <a:pt x="5" y="58"/>
                    </a:lnTo>
                    <a:lnTo>
                      <a:pt x="6" y="57"/>
                    </a:lnTo>
                    <a:lnTo>
                      <a:pt x="7" y="56"/>
                    </a:lnTo>
                    <a:lnTo>
                      <a:pt x="8" y="54"/>
                    </a:lnTo>
                    <a:lnTo>
                      <a:pt x="9" y="53"/>
                    </a:lnTo>
                    <a:lnTo>
                      <a:pt x="10" y="52"/>
                    </a:lnTo>
                    <a:lnTo>
                      <a:pt x="11" y="51"/>
                    </a:lnTo>
                    <a:lnTo>
                      <a:pt x="12" y="49"/>
                    </a:lnTo>
                    <a:lnTo>
                      <a:pt x="13" y="48"/>
                    </a:lnTo>
                    <a:lnTo>
                      <a:pt x="14" y="46"/>
                    </a:lnTo>
                    <a:lnTo>
                      <a:pt x="14" y="44"/>
                    </a:lnTo>
                    <a:lnTo>
                      <a:pt x="15" y="42"/>
                    </a:lnTo>
                    <a:lnTo>
                      <a:pt x="15" y="40"/>
                    </a:lnTo>
                    <a:lnTo>
                      <a:pt x="16" y="41"/>
                    </a:lnTo>
                    <a:lnTo>
                      <a:pt x="17" y="41"/>
                    </a:lnTo>
                    <a:lnTo>
                      <a:pt x="18" y="41"/>
                    </a:lnTo>
                    <a:lnTo>
                      <a:pt x="19" y="41"/>
                    </a:lnTo>
                    <a:lnTo>
                      <a:pt x="19" y="41"/>
                    </a:lnTo>
                    <a:lnTo>
                      <a:pt x="20" y="41"/>
                    </a:lnTo>
                    <a:lnTo>
                      <a:pt x="22" y="41"/>
                    </a:lnTo>
                    <a:lnTo>
                      <a:pt x="23" y="41"/>
                    </a:lnTo>
                    <a:lnTo>
                      <a:pt x="24" y="41"/>
                    </a:lnTo>
                    <a:lnTo>
                      <a:pt x="25" y="41"/>
                    </a:lnTo>
                    <a:lnTo>
                      <a:pt x="26" y="41"/>
                    </a:lnTo>
                    <a:lnTo>
                      <a:pt x="27" y="40"/>
                    </a:lnTo>
                    <a:lnTo>
                      <a:pt x="28" y="40"/>
                    </a:lnTo>
                    <a:lnTo>
                      <a:pt x="29" y="40"/>
                    </a:lnTo>
                    <a:lnTo>
                      <a:pt x="30" y="39"/>
                    </a:lnTo>
                    <a:lnTo>
                      <a:pt x="31" y="39"/>
                    </a:lnTo>
                    <a:lnTo>
                      <a:pt x="32" y="38"/>
                    </a:lnTo>
                    <a:lnTo>
                      <a:pt x="34" y="38"/>
                    </a:lnTo>
                    <a:lnTo>
                      <a:pt x="34" y="37"/>
                    </a:lnTo>
                    <a:lnTo>
                      <a:pt x="35" y="37"/>
                    </a:lnTo>
                    <a:lnTo>
                      <a:pt x="35" y="37"/>
                    </a:lnTo>
                    <a:lnTo>
                      <a:pt x="36" y="37"/>
                    </a:lnTo>
                    <a:lnTo>
                      <a:pt x="36" y="37"/>
                    </a:lnTo>
                    <a:lnTo>
                      <a:pt x="37" y="37"/>
                    </a:lnTo>
                    <a:lnTo>
                      <a:pt x="39" y="37"/>
                    </a:lnTo>
                    <a:lnTo>
                      <a:pt x="40" y="36"/>
                    </a:lnTo>
                    <a:lnTo>
                      <a:pt x="42" y="36"/>
                    </a:lnTo>
                    <a:lnTo>
                      <a:pt x="44" y="36"/>
                    </a:lnTo>
                    <a:lnTo>
                      <a:pt x="45" y="35"/>
                    </a:lnTo>
                    <a:lnTo>
                      <a:pt x="46" y="34"/>
                    </a:lnTo>
                    <a:lnTo>
                      <a:pt x="48" y="34"/>
                    </a:lnTo>
                    <a:lnTo>
                      <a:pt x="49" y="33"/>
                    </a:lnTo>
                    <a:lnTo>
                      <a:pt x="50" y="32"/>
                    </a:lnTo>
                    <a:lnTo>
                      <a:pt x="52" y="31"/>
                    </a:lnTo>
                    <a:lnTo>
                      <a:pt x="54" y="29"/>
                    </a:lnTo>
                    <a:lnTo>
                      <a:pt x="56" y="27"/>
                    </a:lnTo>
                    <a:lnTo>
                      <a:pt x="58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8" y="24"/>
                    </a:lnTo>
                    <a:lnTo>
                      <a:pt x="58" y="23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1"/>
                    </a:lnTo>
                    <a:lnTo>
                      <a:pt x="57" y="20"/>
                    </a:lnTo>
                    <a:lnTo>
                      <a:pt x="57" y="20"/>
                    </a:lnTo>
                    <a:lnTo>
                      <a:pt x="56" y="19"/>
                    </a:lnTo>
                    <a:lnTo>
                      <a:pt x="56" y="18"/>
                    </a:lnTo>
                    <a:lnTo>
                      <a:pt x="55" y="18"/>
                    </a:lnTo>
                    <a:lnTo>
                      <a:pt x="55" y="17"/>
                    </a:lnTo>
                    <a:lnTo>
                      <a:pt x="55" y="16"/>
                    </a:lnTo>
                    <a:lnTo>
                      <a:pt x="55" y="15"/>
                    </a:lnTo>
                    <a:lnTo>
                      <a:pt x="55" y="14"/>
                    </a:lnTo>
                    <a:lnTo>
                      <a:pt x="55" y="13"/>
                    </a:lnTo>
                    <a:lnTo>
                      <a:pt x="55" y="13"/>
                    </a:lnTo>
                    <a:lnTo>
                      <a:pt x="55" y="12"/>
                    </a:lnTo>
                    <a:lnTo>
                      <a:pt x="55" y="12"/>
                    </a:lnTo>
                    <a:lnTo>
                      <a:pt x="55" y="11"/>
                    </a:lnTo>
                    <a:lnTo>
                      <a:pt x="55" y="11"/>
                    </a:lnTo>
                    <a:lnTo>
                      <a:pt x="55" y="11"/>
                    </a:lnTo>
                    <a:lnTo>
                      <a:pt x="55" y="10"/>
                    </a:lnTo>
                    <a:lnTo>
                      <a:pt x="55" y="9"/>
                    </a:lnTo>
                    <a:lnTo>
                      <a:pt x="55" y="8"/>
                    </a:lnTo>
                    <a:lnTo>
                      <a:pt x="55" y="7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7" y="5"/>
                    </a:lnTo>
                    <a:lnTo>
                      <a:pt x="58" y="4"/>
                    </a:lnTo>
                    <a:lnTo>
                      <a:pt x="59" y="4"/>
                    </a:lnTo>
                    <a:lnTo>
                      <a:pt x="60" y="3"/>
                    </a:lnTo>
                    <a:lnTo>
                      <a:pt x="61" y="3"/>
                    </a:lnTo>
                    <a:lnTo>
                      <a:pt x="62" y="3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6" y="2"/>
                    </a:lnTo>
                    <a:lnTo>
                      <a:pt x="67" y="2"/>
                    </a:lnTo>
                    <a:lnTo>
                      <a:pt x="69" y="2"/>
                    </a:lnTo>
                    <a:lnTo>
                      <a:pt x="70" y="2"/>
                    </a:lnTo>
                    <a:lnTo>
                      <a:pt x="72" y="2"/>
                    </a:lnTo>
                    <a:lnTo>
                      <a:pt x="73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5" y="2"/>
                    </a:lnTo>
                    <a:lnTo>
                      <a:pt x="75" y="2"/>
                    </a:lnTo>
                    <a:lnTo>
                      <a:pt x="75" y="1"/>
                    </a:lnTo>
                    <a:lnTo>
                      <a:pt x="75" y="1"/>
                    </a:lnTo>
                    <a:lnTo>
                      <a:pt x="75" y="1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77" name="Freeform 5"/>
              <p:cNvSpPr>
                <a:spLocks/>
              </p:cNvSpPr>
              <p:nvPr/>
            </p:nvSpPr>
            <p:spPr bwMode="auto">
              <a:xfrm>
                <a:off x="323528" y="2317569"/>
                <a:ext cx="1665501" cy="1040032"/>
              </a:xfrm>
              <a:custGeom>
                <a:avLst/>
                <a:gdLst/>
                <a:ahLst/>
                <a:cxnLst>
                  <a:cxn ang="0">
                    <a:pos x="110" y="1"/>
                  </a:cxn>
                  <a:cxn ang="0">
                    <a:pos x="111" y="5"/>
                  </a:cxn>
                  <a:cxn ang="0">
                    <a:pos x="113" y="8"/>
                  </a:cxn>
                  <a:cxn ang="0">
                    <a:pos x="122" y="9"/>
                  </a:cxn>
                  <a:cxn ang="0">
                    <a:pos x="126" y="5"/>
                  </a:cxn>
                  <a:cxn ang="0">
                    <a:pos x="131" y="4"/>
                  </a:cxn>
                  <a:cxn ang="0">
                    <a:pos x="133" y="9"/>
                  </a:cxn>
                  <a:cxn ang="0">
                    <a:pos x="135" y="12"/>
                  </a:cxn>
                  <a:cxn ang="0">
                    <a:pos x="139" y="13"/>
                  </a:cxn>
                  <a:cxn ang="0">
                    <a:pos x="148" y="15"/>
                  </a:cxn>
                  <a:cxn ang="0">
                    <a:pos x="153" y="19"/>
                  </a:cxn>
                  <a:cxn ang="0">
                    <a:pos x="157" y="25"/>
                  </a:cxn>
                  <a:cxn ang="0">
                    <a:pos x="162" y="31"/>
                  </a:cxn>
                  <a:cxn ang="0">
                    <a:pos x="166" y="38"/>
                  </a:cxn>
                  <a:cxn ang="0">
                    <a:pos x="164" y="43"/>
                  </a:cxn>
                  <a:cxn ang="0">
                    <a:pos x="166" y="46"/>
                  </a:cxn>
                  <a:cxn ang="0">
                    <a:pos x="168" y="49"/>
                  </a:cxn>
                  <a:cxn ang="0">
                    <a:pos x="168" y="55"/>
                  </a:cxn>
                  <a:cxn ang="0">
                    <a:pos x="162" y="71"/>
                  </a:cxn>
                  <a:cxn ang="0">
                    <a:pos x="145" y="79"/>
                  </a:cxn>
                  <a:cxn ang="0">
                    <a:pos x="138" y="83"/>
                  </a:cxn>
                  <a:cxn ang="0">
                    <a:pos x="128" y="86"/>
                  </a:cxn>
                  <a:cxn ang="0">
                    <a:pos x="121" y="95"/>
                  </a:cxn>
                  <a:cxn ang="0">
                    <a:pos x="111" y="90"/>
                  </a:cxn>
                  <a:cxn ang="0">
                    <a:pos x="105" y="85"/>
                  </a:cxn>
                  <a:cxn ang="0">
                    <a:pos x="90" y="87"/>
                  </a:cxn>
                  <a:cxn ang="0">
                    <a:pos x="72" y="91"/>
                  </a:cxn>
                  <a:cxn ang="0">
                    <a:pos x="61" y="97"/>
                  </a:cxn>
                  <a:cxn ang="0">
                    <a:pos x="43" y="91"/>
                  </a:cxn>
                  <a:cxn ang="0">
                    <a:pos x="26" y="88"/>
                  </a:cxn>
                  <a:cxn ang="0">
                    <a:pos x="18" y="87"/>
                  </a:cxn>
                  <a:cxn ang="0">
                    <a:pos x="5" y="79"/>
                  </a:cxn>
                  <a:cxn ang="0">
                    <a:pos x="0" y="74"/>
                  </a:cxn>
                  <a:cxn ang="0">
                    <a:pos x="3" y="69"/>
                  </a:cxn>
                  <a:cxn ang="0">
                    <a:pos x="6" y="65"/>
                  </a:cxn>
                  <a:cxn ang="0">
                    <a:pos x="11" y="62"/>
                  </a:cxn>
                  <a:cxn ang="0">
                    <a:pos x="16" y="57"/>
                  </a:cxn>
                  <a:cxn ang="0">
                    <a:pos x="14" y="50"/>
                  </a:cxn>
                  <a:cxn ang="0">
                    <a:pos x="14" y="46"/>
                  </a:cxn>
                  <a:cxn ang="0">
                    <a:pos x="16" y="42"/>
                  </a:cxn>
                  <a:cxn ang="0">
                    <a:pos x="17" y="37"/>
                  </a:cxn>
                  <a:cxn ang="0">
                    <a:pos x="23" y="35"/>
                  </a:cxn>
                  <a:cxn ang="0">
                    <a:pos x="28" y="32"/>
                  </a:cxn>
                  <a:cxn ang="0">
                    <a:pos x="30" y="24"/>
                  </a:cxn>
                  <a:cxn ang="0">
                    <a:pos x="36" y="27"/>
                  </a:cxn>
                  <a:cxn ang="0">
                    <a:pos x="38" y="31"/>
                  </a:cxn>
                  <a:cxn ang="0">
                    <a:pos x="39" y="39"/>
                  </a:cxn>
                  <a:cxn ang="0">
                    <a:pos x="41" y="43"/>
                  </a:cxn>
                  <a:cxn ang="0">
                    <a:pos x="50" y="45"/>
                  </a:cxn>
                  <a:cxn ang="0">
                    <a:pos x="57" y="44"/>
                  </a:cxn>
                  <a:cxn ang="0">
                    <a:pos x="59" y="44"/>
                  </a:cxn>
                  <a:cxn ang="0">
                    <a:pos x="58" y="40"/>
                  </a:cxn>
                  <a:cxn ang="0">
                    <a:pos x="59" y="37"/>
                  </a:cxn>
                  <a:cxn ang="0">
                    <a:pos x="57" y="34"/>
                  </a:cxn>
                  <a:cxn ang="0">
                    <a:pos x="61" y="23"/>
                  </a:cxn>
                  <a:cxn ang="0">
                    <a:pos x="69" y="20"/>
                  </a:cxn>
                  <a:cxn ang="0">
                    <a:pos x="74" y="19"/>
                  </a:cxn>
                  <a:cxn ang="0">
                    <a:pos x="77" y="12"/>
                  </a:cxn>
                  <a:cxn ang="0">
                    <a:pos x="82" y="13"/>
                  </a:cxn>
                  <a:cxn ang="0">
                    <a:pos x="86" y="10"/>
                  </a:cxn>
                  <a:cxn ang="0">
                    <a:pos x="94" y="8"/>
                  </a:cxn>
                  <a:cxn ang="0">
                    <a:pos x="101" y="2"/>
                  </a:cxn>
                </a:cxnLst>
                <a:rect l="0" t="0" r="r" b="b"/>
                <a:pathLst>
                  <a:path w="168" h="97">
                    <a:moveTo>
                      <a:pt x="101" y="2"/>
                    </a:moveTo>
                    <a:lnTo>
                      <a:pt x="102" y="2"/>
                    </a:lnTo>
                    <a:lnTo>
                      <a:pt x="102" y="2"/>
                    </a:lnTo>
                    <a:lnTo>
                      <a:pt x="103" y="2"/>
                    </a:lnTo>
                    <a:lnTo>
                      <a:pt x="103" y="1"/>
                    </a:lnTo>
                    <a:lnTo>
                      <a:pt x="104" y="1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9" y="0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10" y="1"/>
                    </a:lnTo>
                    <a:lnTo>
                      <a:pt x="110" y="2"/>
                    </a:lnTo>
                    <a:lnTo>
                      <a:pt x="110" y="2"/>
                    </a:lnTo>
                    <a:lnTo>
                      <a:pt x="110" y="2"/>
                    </a:lnTo>
                    <a:lnTo>
                      <a:pt x="111" y="2"/>
                    </a:lnTo>
                    <a:lnTo>
                      <a:pt x="111" y="2"/>
                    </a:lnTo>
                    <a:lnTo>
                      <a:pt x="111" y="2"/>
                    </a:lnTo>
                    <a:lnTo>
                      <a:pt x="111" y="3"/>
                    </a:lnTo>
                    <a:lnTo>
                      <a:pt x="111" y="3"/>
                    </a:lnTo>
                    <a:lnTo>
                      <a:pt x="111" y="4"/>
                    </a:lnTo>
                    <a:lnTo>
                      <a:pt x="111" y="4"/>
                    </a:lnTo>
                    <a:lnTo>
                      <a:pt x="111" y="5"/>
                    </a:lnTo>
                    <a:lnTo>
                      <a:pt x="111" y="5"/>
                    </a:lnTo>
                    <a:lnTo>
                      <a:pt x="111" y="5"/>
                    </a:lnTo>
                    <a:lnTo>
                      <a:pt x="112" y="5"/>
                    </a:lnTo>
                    <a:lnTo>
                      <a:pt x="112" y="5"/>
                    </a:lnTo>
                    <a:lnTo>
                      <a:pt x="112" y="5"/>
                    </a:lnTo>
                    <a:lnTo>
                      <a:pt x="113" y="5"/>
                    </a:lnTo>
                    <a:lnTo>
                      <a:pt x="113" y="6"/>
                    </a:lnTo>
                    <a:lnTo>
                      <a:pt x="113" y="6"/>
                    </a:lnTo>
                    <a:lnTo>
                      <a:pt x="113" y="7"/>
                    </a:lnTo>
                    <a:lnTo>
                      <a:pt x="113" y="7"/>
                    </a:lnTo>
                    <a:lnTo>
                      <a:pt x="113" y="7"/>
                    </a:lnTo>
                    <a:lnTo>
                      <a:pt x="113" y="8"/>
                    </a:lnTo>
                    <a:lnTo>
                      <a:pt x="113" y="8"/>
                    </a:lnTo>
                    <a:lnTo>
                      <a:pt x="113" y="8"/>
                    </a:lnTo>
                    <a:lnTo>
                      <a:pt x="113" y="8"/>
                    </a:lnTo>
                    <a:lnTo>
                      <a:pt x="114" y="9"/>
                    </a:lnTo>
                    <a:lnTo>
                      <a:pt x="114" y="9"/>
                    </a:lnTo>
                    <a:lnTo>
                      <a:pt x="114" y="9"/>
                    </a:lnTo>
                    <a:lnTo>
                      <a:pt x="116" y="9"/>
                    </a:lnTo>
                    <a:lnTo>
                      <a:pt x="118" y="9"/>
                    </a:lnTo>
                    <a:lnTo>
                      <a:pt x="119" y="9"/>
                    </a:lnTo>
                    <a:lnTo>
                      <a:pt x="121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8"/>
                    </a:lnTo>
                    <a:lnTo>
                      <a:pt x="123" y="8"/>
                    </a:lnTo>
                    <a:lnTo>
                      <a:pt x="123" y="8"/>
                    </a:lnTo>
                    <a:lnTo>
                      <a:pt x="123" y="7"/>
                    </a:lnTo>
                    <a:lnTo>
                      <a:pt x="123" y="7"/>
                    </a:lnTo>
                    <a:lnTo>
                      <a:pt x="123" y="7"/>
                    </a:lnTo>
                    <a:lnTo>
                      <a:pt x="124" y="7"/>
                    </a:lnTo>
                    <a:lnTo>
                      <a:pt x="124" y="7"/>
                    </a:lnTo>
                    <a:lnTo>
                      <a:pt x="125" y="6"/>
                    </a:lnTo>
                    <a:lnTo>
                      <a:pt x="125" y="6"/>
                    </a:lnTo>
                    <a:lnTo>
                      <a:pt x="126" y="6"/>
                    </a:lnTo>
                    <a:lnTo>
                      <a:pt x="126" y="5"/>
                    </a:lnTo>
                    <a:lnTo>
                      <a:pt x="126" y="5"/>
                    </a:lnTo>
                    <a:lnTo>
                      <a:pt x="127" y="5"/>
                    </a:lnTo>
                    <a:lnTo>
                      <a:pt x="127" y="5"/>
                    </a:lnTo>
                    <a:lnTo>
                      <a:pt x="127" y="5"/>
                    </a:lnTo>
                    <a:lnTo>
                      <a:pt x="128" y="5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29" y="4"/>
                    </a:lnTo>
                    <a:lnTo>
                      <a:pt x="129" y="4"/>
                    </a:lnTo>
                    <a:lnTo>
                      <a:pt x="130" y="4"/>
                    </a:lnTo>
                    <a:lnTo>
                      <a:pt x="131" y="4"/>
                    </a:lnTo>
                    <a:lnTo>
                      <a:pt x="131" y="4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2" y="5"/>
                    </a:lnTo>
                    <a:lnTo>
                      <a:pt x="132" y="5"/>
                    </a:lnTo>
                    <a:lnTo>
                      <a:pt x="132" y="5"/>
                    </a:lnTo>
                    <a:lnTo>
                      <a:pt x="133" y="5"/>
                    </a:lnTo>
                    <a:lnTo>
                      <a:pt x="133" y="6"/>
                    </a:lnTo>
                    <a:lnTo>
                      <a:pt x="133" y="7"/>
                    </a:lnTo>
                    <a:lnTo>
                      <a:pt x="133" y="8"/>
                    </a:lnTo>
                    <a:lnTo>
                      <a:pt x="133" y="9"/>
                    </a:lnTo>
                    <a:lnTo>
                      <a:pt x="133" y="9"/>
                    </a:lnTo>
                    <a:lnTo>
                      <a:pt x="133" y="9"/>
                    </a:lnTo>
                    <a:lnTo>
                      <a:pt x="133" y="10"/>
                    </a:lnTo>
                    <a:lnTo>
                      <a:pt x="133" y="10"/>
                    </a:lnTo>
                    <a:lnTo>
                      <a:pt x="133" y="10"/>
                    </a:lnTo>
                    <a:lnTo>
                      <a:pt x="134" y="10"/>
                    </a:lnTo>
                    <a:lnTo>
                      <a:pt x="134" y="10"/>
                    </a:lnTo>
                    <a:lnTo>
                      <a:pt x="134" y="10"/>
                    </a:lnTo>
                    <a:lnTo>
                      <a:pt x="134" y="11"/>
                    </a:lnTo>
                    <a:lnTo>
                      <a:pt x="135" y="11"/>
                    </a:lnTo>
                    <a:lnTo>
                      <a:pt x="135" y="11"/>
                    </a:lnTo>
                    <a:lnTo>
                      <a:pt x="135" y="12"/>
                    </a:lnTo>
                    <a:lnTo>
                      <a:pt x="135" y="12"/>
                    </a:lnTo>
                    <a:lnTo>
                      <a:pt x="135" y="12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36" y="13"/>
                    </a:lnTo>
                    <a:lnTo>
                      <a:pt x="137" y="13"/>
                    </a:lnTo>
                    <a:lnTo>
                      <a:pt x="137" y="13"/>
                    </a:lnTo>
                    <a:lnTo>
                      <a:pt x="138" y="13"/>
                    </a:lnTo>
                    <a:lnTo>
                      <a:pt x="138" y="13"/>
                    </a:lnTo>
                    <a:lnTo>
                      <a:pt x="139" y="13"/>
                    </a:lnTo>
                    <a:lnTo>
                      <a:pt x="139" y="14"/>
                    </a:lnTo>
                    <a:lnTo>
                      <a:pt x="141" y="14"/>
                    </a:lnTo>
                    <a:lnTo>
                      <a:pt x="143" y="14"/>
                    </a:lnTo>
                    <a:lnTo>
                      <a:pt x="144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7" y="15"/>
                    </a:lnTo>
                    <a:lnTo>
                      <a:pt x="147" y="15"/>
                    </a:lnTo>
                    <a:lnTo>
                      <a:pt x="148" y="15"/>
                    </a:lnTo>
                    <a:lnTo>
                      <a:pt x="148" y="15"/>
                    </a:lnTo>
                    <a:lnTo>
                      <a:pt x="149" y="15"/>
                    </a:lnTo>
                    <a:lnTo>
                      <a:pt x="149" y="15"/>
                    </a:lnTo>
                    <a:lnTo>
                      <a:pt x="150" y="15"/>
                    </a:lnTo>
                    <a:lnTo>
                      <a:pt x="150" y="15"/>
                    </a:lnTo>
                    <a:lnTo>
                      <a:pt x="151" y="15"/>
                    </a:lnTo>
                    <a:lnTo>
                      <a:pt x="151" y="15"/>
                    </a:lnTo>
                    <a:lnTo>
                      <a:pt x="151" y="16"/>
                    </a:lnTo>
                    <a:lnTo>
                      <a:pt x="152" y="16"/>
                    </a:lnTo>
                    <a:lnTo>
                      <a:pt x="152" y="17"/>
                    </a:lnTo>
                    <a:lnTo>
                      <a:pt x="152" y="18"/>
                    </a:lnTo>
                    <a:lnTo>
                      <a:pt x="152" y="19"/>
                    </a:lnTo>
                    <a:lnTo>
                      <a:pt x="153" y="19"/>
                    </a:lnTo>
                    <a:lnTo>
                      <a:pt x="153" y="21"/>
                    </a:lnTo>
                    <a:lnTo>
                      <a:pt x="153" y="22"/>
                    </a:lnTo>
                    <a:lnTo>
                      <a:pt x="153" y="23"/>
                    </a:lnTo>
                    <a:lnTo>
                      <a:pt x="153" y="23"/>
                    </a:lnTo>
                    <a:lnTo>
                      <a:pt x="153" y="24"/>
                    </a:lnTo>
                    <a:lnTo>
                      <a:pt x="154" y="25"/>
                    </a:lnTo>
                    <a:lnTo>
                      <a:pt x="155" y="25"/>
                    </a:lnTo>
                    <a:lnTo>
                      <a:pt x="155" y="25"/>
                    </a:lnTo>
                    <a:lnTo>
                      <a:pt x="156" y="25"/>
                    </a:lnTo>
                    <a:lnTo>
                      <a:pt x="156" y="25"/>
                    </a:lnTo>
                    <a:lnTo>
                      <a:pt x="156" y="25"/>
                    </a:lnTo>
                    <a:lnTo>
                      <a:pt x="157" y="25"/>
                    </a:lnTo>
                    <a:lnTo>
                      <a:pt x="157" y="25"/>
                    </a:lnTo>
                    <a:lnTo>
                      <a:pt x="158" y="25"/>
                    </a:lnTo>
                    <a:lnTo>
                      <a:pt x="158" y="26"/>
                    </a:lnTo>
                    <a:lnTo>
                      <a:pt x="159" y="27"/>
                    </a:lnTo>
                    <a:lnTo>
                      <a:pt x="159" y="28"/>
                    </a:lnTo>
                    <a:lnTo>
                      <a:pt x="160" y="28"/>
                    </a:lnTo>
                    <a:lnTo>
                      <a:pt x="160" y="29"/>
                    </a:lnTo>
                    <a:lnTo>
                      <a:pt x="161" y="30"/>
                    </a:lnTo>
                    <a:lnTo>
                      <a:pt x="162" y="30"/>
                    </a:lnTo>
                    <a:lnTo>
                      <a:pt x="163" y="30"/>
                    </a:lnTo>
                    <a:lnTo>
                      <a:pt x="163" y="31"/>
                    </a:lnTo>
                    <a:lnTo>
                      <a:pt x="162" y="31"/>
                    </a:lnTo>
                    <a:lnTo>
                      <a:pt x="162" y="32"/>
                    </a:lnTo>
                    <a:lnTo>
                      <a:pt x="162" y="33"/>
                    </a:lnTo>
                    <a:lnTo>
                      <a:pt x="163" y="34"/>
                    </a:lnTo>
                    <a:lnTo>
                      <a:pt x="163" y="34"/>
                    </a:lnTo>
                    <a:lnTo>
                      <a:pt x="163" y="35"/>
                    </a:lnTo>
                    <a:lnTo>
                      <a:pt x="164" y="35"/>
                    </a:lnTo>
                    <a:lnTo>
                      <a:pt x="164" y="36"/>
                    </a:lnTo>
                    <a:lnTo>
                      <a:pt x="165" y="36"/>
                    </a:lnTo>
                    <a:lnTo>
                      <a:pt x="165" y="37"/>
                    </a:lnTo>
                    <a:lnTo>
                      <a:pt x="166" y="37"/>
                    </a:lnTo>
                    <a:lnTo>
                      <a:pt x="166" y="38"/>
                    </a:lnTo>
                    <a:lnTo>
                      <a:pt x="166" y="38"/>
                    </a:lnTo>
                    <a:lnTo>
                      <a:pt x="166" y="39"/>
                    </a:lnTo>
                    <a:lnTo>
                      <a:pt x="166" y="40"/>
                    </a:lnTo>
                    <a:lnTo>
                      <a:pt x="166" y="40"/>
                    </a:lnTo>
                    <a:lnTo>
                      <a:pt x="165" y="40"/>
                    </a:lnTo>
                    <a:lnTo>
                      <a:pt x="165" y="40"/>
                    </a:lnTo>
                    <a:lnTo>
                      <a:pt x="165" y="41"/>
                    </a:lnTo>
                    <a:lnTo>
                      <a:pt x="165" y="41"/>
                    </a:lnTo>
                    <a:lnTo>
                      <a:pt x="164" y="41"/>
                    </a:lnTo>
                    <a:lnTo>
                      <a:pt x="164" y="42"/>
                    </a:lnTo>
                    <a:lnTo>
                      <a:pt x="164" y="42"/>
                    </a:lnTo>
                    <a:lnTo>
                      <a:pt x="164" y="42"/>
                    </a:lnTo>
                    <a:lnTo>
                      <a:pt x="164" y="43"/>
                    </a:lnTo>
                    <a:lnTo>
                      <a:pt x="164" y="43"/>
                    </a:lnTo>
                    <a:lnTo>
                      <a:pt x="164" y="44"/>
                    </a:lnTo>
                    <a:lnTo>
                      <a:pt x="164" y="44"/>
                    </a:lnTo>
                    <a:lnTo>
                      <a:pt x="164" y="44"/>
                    </a:lnTo>
                    <a:lnTo>
                      <a:pt x="164" y="45"/>
                    </a:lnTo>
                    <a:lnTo>
                      <a:pt x="165" y="45"/>
                    </a:lnTo>
                    <a:lnTo>
                      <a:pt x="165" y="45"/>
                    </a:lnTo>
                    <a:lnTo>
                      <a:pt x="165" y="45"/>
                    </a:lnTo>
                    <a:lnTo>
                      <a:pt x="166" y="45"/>
                    </a:lnTo>
                    <a:lnTo>
                      <a:pt x="166" y="45"/>
                    </a:lnTo>
                    <a:lnTo>
                      <a:pt x="166" y="46"/>
                    </a:lnTo>
                    <a:lnTo>
                      <a:pt x="166" y="46"/>
                    </a:lnTo>
                    <a:lnTo>
                      <a:pt x="166" y="47"/>
                    </a:lnTo>
                    <a:lnTo>
                      <a:pt x="166" y="47"/>
                    </a:lnTo>
                    <a:lnTo>
                      <a:pt x="166" y="47"/>
                    </a:lnTo>
                    <a:lnTo>
                      <a:pt x="166" y="48"/>
                    </a:lnTo>
                    <a:lnTo>
                      <a:pt x="166" y="48"/>
                    </a:lnTo>
                    <a:lnTo>
                      <a:pt x="166" y="48"/>
                    </a:lnTo>
                    <a:lnTo>
                      <a:pt x="167" y="48"/>
                    </a:lnTo>
                    <a:lnTo>
                      <a:pt x="167" y="48"/>
                    </a:lnTo>
                    <a:lnTo>
                      <a:pt x="167" y="49"/>
                    </a:lnTo>
                    <a:lnTo>
                      <a:pt x="168" y="49"/>
                    </a:lnTo>
                    <a:lnTo>
                      <a:pt x="168" y="49"/>
                    </a:lnTo>
                    <a:lnTo>
                      <a:pt x="168" y="49"/>
                    </a:lnTo>
                    <a:lnTo>
                      <a:pt x="168" y="50"/>
                    </a:lnTo>
                    <a:lnTo>
                      <a:pt x="168" y="50"/>
                    </a:lnTo>
                    <a:lnTo>
                      <a:pt x="168" y="50"/>
                    </a:lnTo>
                    <a:lnTo>
                      <a:pt x="167" y="50"/>
                    </a:lnTo>
                    <a:lnTo>
                      <a:pt x="167" y="51"/>
                    </a:lnTo>
                    <a:lnTo>
                      <a:pt x="167" y="51"/>
                    </a:lnTo>
                    <a:lnTo>
                      <a:pt x="167" y="52"/>
                    </a:lnTo>
                    <a:lnTo>
                      <a:pt x="167" y="52"/>
                    </a:lnTo>
                    <a:lnTo>
                      <a:pt x="167" y="53"/>
                    </a:lnTo>
                    <a:lnTo>
                      <a:pt x="167" y="54"/>
                    </a:lnTo>
                    <a:lnTo>
                      <a:pt x="167" y="55"/>
                    </a:lnTo>
                    <a:lnTo>
                      <a:pt x="168" y="55"/>
                    </a:lnTo>
                    <a:lnTo>
                      <a:pt x="168" y="56"/>
                    </a:lnTo>
                    <a:lnTo>
                      <a:pt x="168" y="57"/>
                    </a:lnTo>
                    <a:lnTo>
                      <a:pt x="168" y="58"/>
                    </a:lnTo>
                    <a:lnTo>
                      <a:pt x="168" y="59"/>
                    </a:lnTo>
                    <a:lnTo>
                      <a:pt x="168" y="60"/>
                    </a:lnTo>
                    <a:lnTo>
                      <a:pt x="168" y="61"/>
                    </a:lnTo>
                    <a:lnTo>
                      <a:pt x="168" y="62"/>
                    </a:lnTo>
                    <a:lnTo>
                      <a:pt x="166" y="65"/>
                    </a:lnTo>
                    <a:lnTo>
                      <a:pt x="164" y="67"/>
                    </a:lnTo>
                    <a:lnTo>
                      <a:pt x="164" y="68"/>
                    </a:lnTo>
                    <a:lnTo>
                      <a:pt x="163" y="70"/>
                    </a:lnTo>
                    <a:lnTo>
                      <a:pt x="162" y="71"/>
                    </a:lnTo>
                    <a:lnTo>
                      <a:pt x="161" y="72"/>
                    </a:lnTo>
                    <a:lnTo>
                      <a:pt x="158" y="72"/>
                    </a:lnTo>
                    <a:lnTo>
                      <a:pt x="155" y="72"/>
                    </a:lnTo>
                    <a:lnTo>
                      <a:pt x="152" y="72"/>
                    </a:lnTo>
                    <a:lnTo>
                      <a:pt x="149" y="72"/>
                    </a:lnTo>
                    <a:lnTo>
                      <a:pt x="149" y="73"/>
                    </a:lnTo>
                    <a:lnTo>
                      <a:pt x="149" y="73"/>
                    </a:lnTo>
                    <a:lnTo>
                      <a:pt x="148" y="74"/>
                    </a:lnTo>
                    <a:lnTo>
                      <a:pt x="148" y="75"/>
                    </a:lnTo>
                    <a:lnTo>
                      <a:pt x="147" y="76"/>
                    </a:lnTo>
                    <a:lnTo>
                      <a:pt x="146" y="77"/>
                    </a:lnTo>
                    <a:lnTo>
                      <a:pt x="145" y="79"/>
                    </a:lnTo>
                    <a:lnTo>
                      <a:pt x="144" y="79"/>
                    </a:lnTo>
                    <a:lnTo>
                      <a:pt x="144" y="80"/>
                    </a:lnTo>
                    <a:lnTo>
                      <a:pt x="144" y="81"/>
                    </a:lnTo>
                    <a:lnTo>
                      <a:pt x="143" y="82"/>
                    </a:lnTo>
                    <a:lnTo>
                      <a:pt x="143" y="83"/>
                    </a:lnTo>
                    <a:lnTo>
                      <a:pt x="143" y="83"/>
                    </a:lnTo>
                    <a:lnTo>
                      <a:pt x="142" y="84"/>
                    </a:lnTo>
                    <a:lnTo>
                      <a:pt x="141" y="84"/>
                    </a:lnTo>
                    <a:lnTo>
                      <a:pt x="140" y="84"/>
                    </a:lnTo>
                    <a:lnTo>
                      <a:pt x="139" y="84"/>
                    </a:lnTo>
                    <a:lnTo>
                      <a:pt x="138" y="84"/>
                    </a:lnTo>
                    <a:lnTo>
                      <a:pt x="138" y="83"/>
                    </a:lnTo>
                    <a:lnTo>
                      <a:pt x="136" y="83"/>
                    </a:lnTo>
                    <a:lnTo>
                      <a:pt x="135" y="83"/>
                    </a:lnTo>
                    <a:lnTo>
                      <a:pt x="134" y="82"/>
                    </a:lnTo>
                    <a:lnTo>
                      <a:pt x="132" y="82"/>
                    </a:lnTo>
                    <a:lnTo>
                      <a:pt x="131" y="82"/>
                    </a:lnTo>
                    <a:lnTo>
                      <a:pt x="130" y="82"/>
                    </a:lnTo>
                    <a:lnTo>
                      <a:pt x="130" y="83"/>
                    </a:lnTo>
                    <a:lnTo>
                      <a:pt x="129" y="83"/>
                    </a:lnTo>
                    <a:lnTo>
                      <a:pt x="129" y="84"/>
                    </a:lnTo>
                    <a:lnTo>
                      <a:pt x="128" y="84"/>
                    </a:lnTo>
                    <a:lnTo>
                      <a:pt x="128" y="85"/>
                    </a:lnTo>
                    <a:lnTo>
                      <a:pt x="128" y="86"/>
                    </a:lnTo>
                    <a:lnTo>
                      <a:pt x="128" y="87"/>
                    </a:lnTo>
                    <a:lnTo>
                      <a:pt x="127" y="87"/>
                    </a:lnTo>
                    <a:lnTo>
                      <a:pt x="127" y="87"/>
                    </a:lnTo>
                    <a:lnTo>
                      <a:pt x="127" y="87"/>
                    </a:lnTo>
                    <a:lnTo>
                      <a:pt x="126" y="87"/>
                    </a:lnTo>
                    <a:lnTo>
                      <a:pt x="126" y="88"/>
                    </a:lnTo>
                    <a:lnTo>
                      <a:pt x="126" y="88"/>
                    </a:lnTo>
                    <a:lnTo>
                      <a:pt x="126" y="88"/>
                    </a:lnTo>
                    <a:lnTo>
                      <a:pt x="126" y="89"/>
                    </a:lnTo>
                    <a:lnTo>
                      <a:pt x="125" y="91"/>
                    </a:lnTo>
                    <a:lnTo>
                      <a:pt x="123" y="93"/>
                    </a:lnTo>
                    <a:lnTo>
                      <a:pt x="121" y="95"/>
                    </a:lnTo>
                    <a:lnTo>
                      <a:pt x="119" y="97"/>
                    </a:lnTo>
                    <a:lnTo>
                      <a:pt x="119" y="97"/>
                    </a:lnTo>
                    <a:lnTo>
                      <a:pt x="119" y="97"/>
                    </a:lnTo>
                    <a:lnTo>
                      <a:pt x="118" y="97"/>
                    </a:lnTo>
                    <a:lnTo>
                      <a:pt x="118" y="97"/>
                    </a:lnTo>
                    <a:lnTo>
                      <a:pt x="117" y="96"/>
                    </a:lnTo>
                    <a:lnTo>
                      <a:pt x="116" y="96"/>
                    </a:lnTo>
                    <a:lnTo>
                      <a:pt x="115" y="95"/>
                    </a:lnTo>
                    <a:lnTo>
                      <a:pt x="115" y="94"/>
                    </a:lnTo>
                    <a:lnTo>
                      <a:pt x="113" y="93"/>
                    </a:lnTo>
                    <a:lnTo>
                      <a:pt x="112" y="92"/>
                    </a:lnTo>
                    <a:lnTo>
                      <a:pt x="111" y="90"/>
                    </a:lnTo>
                    <a:lnTo>
                      <a:pt x="109" y="89"/>
                    </a:lnTo>
                    <a:lnTo>
                      <a:pt x="109" y="88"/>
                    </a:lnTo>
                    <a:lnTo>
                      <a:pt x="108" y="88"/>
                    </a:lnTo>
                    <a:lnTo>
                      <a:pt x="107" y="87"/>
                    </a:lnTo>
                    <a:lnTo>
                      <a:pt x="106" y="87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5"/>
                    </a:lnTo>
                    <a:lnTo>
                      <a:pt x="105" y="85"/>
                    </a:lnTo>
                    <a:lnTo>
                      <a:pt x="105" y="85"/>
                    </a:lnTo>
                    <a:lnTo>
                      <a:pt x="105" y="85"/>
                    </a:lnTo>
                    <a:lnTo>
                      <a:pt x="104" y="85"/>
                    </a:lnTo>
                    <a:lnTo>
                      <a:pt x="103" y="85"/>
                    </a:lnTo>
                    <a:lnTo>
                      <a:pt x="101" y="85"/>
                    </a:lnTo>
                    <a:lnTo>
                      <a:pt x="100" y="85"/>
                    </a:lnTo>
                    <a:lnTo>
                      <a:pt x="98" y="85"/>
                    </a:lnTo>
                    <a:lnTo>
                      <a:pt x="97" y="85"/>
                    </a:lnTo>
                    <a:lnTo>
                      <a:pt x="96" y="85"/>
                    </a:lnTo>
                    <a:lnTo>
                      <a:pt x="94" y="85"/>
                    </a:lnTo>
                    <a:lnTo>
                      <a:pt x="93" y="86"/>
                    </a:lnTo>
                    <a:lnTo>
                      <a:pt x="92" y="86"/>
                    </a:lnTo>
                    <a:lnTo>
                      <a:pt x="91" y="86"/>
                    </a:lnTo>
                    <a:lnTo>
                      <a:pt x="90" y="87"/>
                    </a:lnTo>
                    <a:lnTo>
                      <a:pt x="89" y="88"/>
                    </a:lnTo>
                    <a:lnTo>
                      <a:pt x="88" y="88"/>
                    </a:lnTo>
                    <a:lnTo>
                      <a:pt x="88" y="89"/>
                    </a:lnTo>
                    <a:lnTo>
                      <a:pt x="87" y="89"/>
                    </a:lnTo>
                    <a:lnTo>
                      <a:pt x="86" y="90"/>
                    </a:lnTo>
                    <a:lnTo>
                      <a:pt x="83" y="90"/>
                    </a:lnTo>
                    <a:lnTo>
                      <a:pt x="80" y="90"/>
                    </a:lnTo>
                    <a:lnTo>
                      <a:pt x="77" y="90"/>
                    </a:lnTo>
                    <a:lnTo>
                      <a:pt x="74" y="90"/>
                    </a:lnTo>
                    <a:lnTo>
                      <a:pt x="73" y="90"/>
                    </a:lnTo>
                    <a:lnTo>
                      <a:pt x="72" y="91"/>
                    </a:lnTo>
                    <a:lnTo>
                      <a:pt x="72" y="91"/>
                    </a:lnTo>
                    <a:lnTo>
                      <a:pt x="71" y="91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68" y="93"/>
                    </a:lnTo>
                    <a:lnTo>
                      <a:pt x="67" y="94"/>
                    </a:lnTo>
                    <a:lnTo>
                      <a:pt x="67" y="95"/>
                    </a:lnTo>
                    <a:lnTo>
                      <a:pt x="66" y="95"/>
                    </a:lnTo>
                    <a:lnTo>
                      <a:pt x="65" y="96"/>
                    </a:lnTo>
                    <a:lnTo>
                      <a:pt x="65" y="96"/>
                    </a:lnTo>
                    <a:lnTo>
                      <a:pt x="64" y="97"/>
                    </a:lnTo>
                    <a:lnTo>
                      <a:pt x="63" y="97"/>
                    </a:lnTo>
                    <a:lnTo>
                      <a:pt x="61" y="97"/>
                    </a:lnTo>
                    <a:lnTo>
                      <a:pt x="60" y="97"/>
                    </a:lnTo>
                    <a:lnTo>
                      <a:pt x="59" y="97"/>
                    </a:lnTo>
                    <a:lnTo>
                      <a:pt x="57" y="97"/>
                    </a:lnTo>
                    <a:lnTo>
                      <a:pt x="56" y="96"/>
                    </a:lnTo>
                    <a:lnTo>
                      <a:pt x="55" y="96"/>
                    </a:lnTo>
                    <a:lnTo>
                      <a:pt x="54" y="96"/>
                    </a:lnTo>
                    <a:lnTo>
                      <a:pt x="53" y="96"/>
                    </a:lnTo>
                    <a:lnTo>
                      <a:pt x="50" y="95"/>
                    </a:lnTo>
                    <a:lnTo>
                      <a:pt x="49" y="94"/>
                    </a:lnTo>
                    <a:lnTo>
                      <a:pt x="47" y="93"/>
                    </a:lnTo>
                    <a:lnTo>
                      <a:pt x="45" y="92"/>
                    </a:lnTo>
                    <a:lnTo>
                      <a:pt x="43" y="91"/>
                    </a:lnTo>
                    <a:lnTo>
                      <a:pt x="41" y="91"/>
                    </a:lnTo>
                    <a:lnTo>
                      <a:pt x="39" y="90"/>
                    </a:lnTo>
                    <a:lnTo>
                      <a:pt x="37" y="89"/>
                    </a:lnTo>
                    <a:lnTo>
                      <a:pt x="36" y="89"/>
                    </a:lnTo>
                    <a:lnTo>
                      <a:pt x="34" y="89"/>
                    </a:lnTo>
                    <a:lnTo>
                      <a:pt x="33" y="88"/>
                    </a:lnTo>
                    <a:lnTo>
                      <a:pt x="32" y="88"/>
                    </a:lnTo>
                    <a:lnTo>
                      <a:pt x="31" y="88"/>
                    </a:lnTo>
                    <a:lnTo>
                      <a:pt x="29" y="88"/>
                    </a:lnTo>
                    <a:lnTo>
                      <a:pt x="28" y="88"/>
                    </a:lnTo>
                    <a:lnTo>
                      <a:pt x="26" y="89"/>
                    </a:lnTo>
                    <a:lnTo>
                      <a:pt x="26" y="88"/>
                    </a:lnTo>
                    <a:lnTo>
                      <a:pt x="26" y="87"/>
                    </a:lnTo>
                    <a:lnTo>
                      <a:pt x="26" y="87"/>
                    </a:lnTo>
                    <a:lnTo>
                      <a:pt x="25" y="87"/>
                    </a:lnTo>
                    <a:lnTo>
                      <a:pt x="25" y="87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3" y="86"/>
                    </a:lnTo>
                    <a:lnTo>
                      <a:pt x="22" y="87"/>
                    </a:lnTo>
                    <a:lnTo>
                      <a:pt x="20" y="87"/>
                    </a:lnTo>
                    <a:lnTo>
                      <a:pt x="19" y="87"/>
                    </a:lnTo>
                    <a:lnTo>
                      <a:pt x="19" y="87"/>
                    </a:lnTo>
                    <a:lnTo>
                      <a:pt x="18" y="87"/>
                    </a:lnTo>
                    <a:lnTo>
                      <a:pt x="18" y="87"/>
                    </a:lnTo>
                    <a:lnTo>
                      <a:pt x="8" y="87"/>
                    </a:lnTo>
                    <a:lnTo>
                      <a:pt x="8" y="86"/>
                    </a:lnTo>
                    <a:lnTo>
                      <a:pt x="8" y="85"/>
                    </a:lnTo>
                    <a:lnTo>
                      <a:pt x="8" y="84"/>
                    </a:lnTo>
                    <a:lnTo>
                      <a:pt x="8" y="83"/>
                    </a:lnTo>
                    <a:lnTo>
                      <a:pt x="7" y="83"/>
                    </a:lnTo>
                    <a:lnTo>
                      <a:pt x="7" y="82"/>
                    </a:lnTo>
                    <a:lnTo>
                      <a:pt x="6" y="81"/>
                    </a:lnTo>
                    <a:lnTo>
                      <a:pt x="6" y="80"/>
                    </a:lnTo>
                    <a:lnTo>
                      <a:pt x="5" y="80"/>
                    </a:lnTo>
                    <a:lnTo>
                      <a:pt x="5" y="79"/>
                    </a:lnTo>
                    <a:lnTo>
                      <a:pt x="4" y="79"/>
                    </a:lnTo>
                    <a:lnTo>
                      <a:pt x="3" y="79"/>
                    </a:lnTo>
                    <a:lnTo>
                      <a:pt x="2" y="78"/>
                    </a:lnTo>
                    <a:lnTo>
                      <a:pt x="2" y="78"/>
                    </a:lnTo>
                    <a:lnTo>
                      <a:pt x="1" y="78"/>
                    </a:lnTo>
                    <a:lnTo>
                      <a:pt x="1" y="77"/>
                    </a:lnTo>
                    <a:lnTo>
                      <a:pt x="1" y="77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3"/>
                    </a:lnTo>
                    <a:lnTo>
                      <a:pt x="1" y="73"/>
                    </a:lnTo>
                    <a:lnTo>
                      <a:pt x="1" y="72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1" y="71"/>
                    </a:lnTo>
                    <a:lnTo>
                      <a:pt x="2" y="70"/>
                    </a:lnTo>
                    <a:lnTo>
                      <a:pt x="2" y="70"/>
                    </a:lnTo>
                    <a:lnTo>
                      <a:pt x="2" y="6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4" y="69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7"/>
                    </a:lnTo>
                    <a:lnTo>
                      <a:pt x="4" y="67"/>
                    </a:lnTo>
                    <a:lnTo>
                      <a:pt x="5" y="66"/>
                    </a:lnTo>
                    <a:lnTo>
                      <a:pt x="5" y="66"/>
                    </a:lnTo>
                    <a:lnTo>
                      <a:pt x="5" y="65"/>
                    </a:lnTo>
                    <a:lnTo>
                      <a:pt x="6" y="65"/>
                    </a:lnTo>
                    <a:lnTo>
                      <a:pt x="6" y="64"/>
                    </a:lnTo>
                    <a:lnTo>
                      <a:pt x="7" y="64"/>
                    </a:lnTo>
                    <a:lnTo>
                      <a:pt x="7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9" y="64"/>
                    </a:lnTo>
                    <a:lnTo>
                      <a:pt x="10" y="64"/>
                    </a:lnTo>
                    <a:lnTo>
                      <a:pt x="10" y="63"/>
                    </a:lnTo>
                    <a:lnTo>
                      <a:pt x="11" y="63"/>
                    </a:lnTo>
                    <a:lnTo>
                      <a:pt x="11" y="63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2" y="62"/>
                    </a:lnTo>
                    <a:lnTo>
                      <a:pt x="12" y="61"/>
                    </a:lnTo>
                    <a:lnTo>
                      <a:pt x="13" y="61"/>
                    </a:lnTo>
                    <a:lnTo>
                      <a:pt x="13" y="61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5" y="58"/>
                    </a:lnTo>
                    <a:lnTo>
                      <a:pt x="15" y="58"/>
                    </a:lnTo>
                    <a:lnTo>
                      <a:pt x="16" y="58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6"/>
                    </a:lnTo>
                    <a:lnTo>
                      <a:pt x="17" y="55"/>
                    </a:lnTo>
                    <a:lnTo>
                      <a:pt x="16" y="55"/>
                    </a:lnTo>
                    <a:lnTo>
                      <a:pt x="16" y="54"/>
                    </a:lnTo>
                    <a:lnTo>
                      <a:pt x="16" y="53"/>
                    </a:lnTo>
                    <a:lnTo>
                      <a:pt x="16" y="53"/>
                    </a:lnTo>
                    <a:lnTo>
                      <a:pt x="15" y="52"/>
                    </a:lnTo>
                    <a:lnTo>
                      <a:pt x="15" y="51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3" y="48"/>
                    </a:lnTo>
                    <a:lnTo>
                      <a:pt x="13" y="48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4" y="47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3"/>
                    </a:lnTo>
                    <a:lnTo>
                      <a:pt x="14" y="43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39"/>
                    </a:lnTo>
                    <a:lnTo>
                      <a:pt x="16" y="39"/>
                    </a:lnTo>
                    <a:lnTo>
                      <a:pt x="16" y="38"/>
                    </a:lnTo>
                    <a:lnTo>
                      <a:pt x="17" y="38"/>
                    </a:lnTo>
                    <a:lnTo>
                      <a:pt x="17" y="37"/>
                    </a:lnTo>
                    <a:lnTo>
                      <a:pt x="17" y="37"/>
                    </a:lnTo>
                    <a:lnTo>
                      <a:pt x="17" y="37"/>
                    </a:lnTo>
                    <a:lnTo>
                      <a:pt x="18" y="37"/>
                    </a:lnTo>
                    <a:lnTo>
                      <a:pt x="19" y="37"/>
                    </a:lnTo>
                    <a:lnTo>
                      <a:pt x="20" y="37"/>
                    </a:lnTo>
                    <a:lnTo>
                      <a:pt x="20" y="37"/>
                    </a:lnTo>
                    <a:lnTo>
                      <a:pt x="21" y="37"/>
                    </a:lnTo>
                    <a:lnTo>
                      <a:pt x="22" y="37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4" y="35"/>
                    </a:lnTo>
                    <a:lnTo>
                      <a:pt x="24" y="35"/>
                    </a:lnTo>
                    <a:lnTo>
                      <a:pt x="24" y="35"/>
                    </a:lnTo>
                    <a:lnTo>
                      <a:pt x="25" y="35"/>
                    </a:lnTo>
                    <a:lnTo>
                      <a:pt x="26" y="35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7" y="34"/>
                    </a:lnTo>
                    <a:lnTo>
                      <a:pt x="27" y="33"/>
                    </a:lnTo>
                    <a:lnTo>
                      <a:pt x="27" y="33"/>
                    </a:lnTo>
                    <a:lnTo>
                      <a:pt x="28" y="32"/>
                    </a:lnTo>
                    <a:lnTo>
                      <a:pt x="28" y="30"/>
                    </a:lnTo>
                    <a:lnTo>
                      <a:pt x="28" y="29"/>
                    </a:lnTo>
                    <a:lnTo>
                      <a:pt x="28" y="28"/>
                    </a:lnTo>
                    <a:lnTo>
                      <a:pt x="28" y="27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5"/>
                    </a:lnTo>
                    <a:lnTo>
                      <a:pt x="29" y="25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1" y="24"/>
                    </a:lnTo>
                    <a:lnTo>
                      <a:pt x="32" y="24"/>
                    </a:lnTo>
                    <a:lnTo>
                      <a:pt x="33" y="24"/>
                    </a:lnTo>
                    <a:lnTo>
                      <a:pt x="33" y="24"/>
                    </a:lnTo>
                    <a:lnTo>
                      <a:pt x="34" y="24"/>
                    </a:lnTo>
                    <a:lnTo>
                      <a:pt x="35" y="25"/>
                    </a:lnTo>
                    <a:lnTo>
                      <a:pt x="36" y="25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7" y="28"/>
                    </a:lnTo>
                    <a:lnTo>
                      <a:pt x="37" y="29"/>
                    </a:lnTo>
                    <a:lnTo>
                      <a:pt x="37" y="29"/>
                    </a:lnTo>
                    <a:lnTo>
                      <a:pt x="38" y="29"/>
                    </a:lnTo>
                    <a:lnTo>
                      <a:pt x="38" y="29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1"/>
                    </a:lnTo>
                    <a:lnTo>
                      <a:pt x="38" y="31"/>
                    </a:lnTo>
                    <a:lnTo>
                      <a:pt x="38" y="31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9" y="32"/>
                    </a:lnTo>
                    <a:lnTo>
                      <a:pt x="39" y="32"/>
                    </a:lnTo>
                    <a:lnTo>
                      <a:pt x="39" y="32"/>
                    </a:lnTo>
                    <a:lnTo>
                      <a:pt x="39" y="34"/>
                    </a:lnTo>
                    <a:lnTo>
                      <a:pt x="39" y="35"/>
                    </a:lnTo>
                    <a:lnTo>
                      <a:pt x="39" y="37"/>
                    </a:lnTo>
                    <a:lnTo>
                      <a:pt x="39" y="39"/>
                    </a:lnTo>
                    <a:lnTo>
                      <a:pt x="39" y="39"/>
                    </a:lnTo>
                    <a:lnTo>
                      <a:pt x="39" y="39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1" y="40"/>
                    </a:lnTo>
                    <a:lnTo>
                      <a:pt x="41" y="40"/>
                    </a:lnTo>
                    <a:lnTo>
                      <a:pt x="41" y="41"/>
                    </a:lnTo>
                    <a:lnTo>
                      <a:pt x="41" y="41"/>
                    </a:lnTo>
                    <a:lnTo>
                      <a:pt x="41" y="42"/>
                    </a:lnTo>
                    <a:lnTo>
                      <a:pt x="41" y="42"/>
                    </a:lnTo>
                    <a:lnTo>
                      <a:pt x="41" y="43"/>
                    </a:lnTo>
                    <a:lnTo>
                      <a:pt x="41" y="43"/>
                    </a:lnTo>
                    <a:lnTo>
                      <a:pt x="41" y="43"/>
                    </a:lnTo>
                    <a:lnTo>
                      <a:pt x="42" y="44"/>
                    </a:lnTo>
                    <a:lnTo>
                      <a:pt x="42" y="44"/>
                    </a:lnTo>
                    <a:lnTo>
                      <a:pt x="43" y="45"/>
                    </a:lnTo>
                    <a:lnTo>
                      <a:pt x="43" y="45"/>
                    </a:lnTo>
                    <a:lnTo>
                      <a:pt x="43" y="45"/>
                    </a:lnTo>
                    <a:lnTo>
                      <a:pt x="44" y="45"/>
                    </a:lnTo>
                    <a:lnTo>
                      <a:pt x="44" y="45"/>
                    </a:lnTo>
                    <a:lnTo>
                      <a:pt x="45" y="45"/>
                    </a:lnTo>
                    <a:lnTo>
                      <a:pt x="49" y="45"/>
                    </a:lnTo>
                    <a:lnTo>
                      <a:pt x="50" y="45"/>
                    </a:lnTo>
                    <a:lnTo>
                      <a:pt x="51" y="45"/>
                    </a:lnTo>
                    <a:lnTo>
                      <a:pt x="52" y="45"/>
                    </a:lnTo>
                    <a:lnTo>
                      <a:pt x="53" y="45"/>
                    </a:lnTo>
                    <a:lnTo>
                      <a:pt x="53" y="45"/>
                    </a:lnTo>
                    <a:lnTo>
                      <a:pt x="54" y="45"/>
                    </a:lnTo>
                    <a:lnTo>
                      <a:pt x="54" y="45"/>
                    </a:lnTo>
                    <a:lnTo>
                      <a:pt x="54" y="44"/>
                    </a:lnTo>
                    <a:lnTo>
                      <a:pt x="54" y="44"/>
                    </a:lnTo>
                    <a:lnTo>
                      <a:pt x="55" y="44"/>
                    </a:lnTo>
                    <a:lnTo>
                      <a:pt x="55" y="44"/>
                    </a:lnTo>
                    <a:lnTo>
                      <a:pt x="56" y="44"/>
                    </a:lnTo>
                    <a:lnTo>
                      <a:pt x="57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5"/>
                    </a:lnTo>
                    <a:lnTo>
                      <a:pt x="58" y="45"/>
                    </a:lnTo>
                    <a:lnTo>
                      <a:pt x="59" y="45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60" y="43"/>
                    </a:lnTo>
                    <a:lnTo>
                      <a:pt x="59" y="43"/>
                    </a:lnTo>
                    <a:lnTo>
                      <a:pt x="59" y="43"/>
                    </a:lnTo>
                    <a:lnTo>
                      <a:pt x="59" y="42"/>
                    </a:lnTo>
                    <a:lnTo>
                      <a:pt x="59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1"/>
                    </a:lnTo>
                    <a:lnTo>
                      <a:pt x="58" y="41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9" y="40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9" y="38"/>
                    </a:lnTo>
                    <a:lnTo>
                      <a:pt x="59" y="38"/>
                    </a:lnTo>
                    <a:lnTo>
                      <a:pt x="59" y="38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58" y="37"/>
                    </a:lnTo>
                    <a:lnTo>
                      <a:pt x="58" y="37"/>
                    </a:lnTo>
                    <a:lnTo>
                      <a:pt x="58" y="37"/>
                    </a:lnTo>
                    <a:lnTo>
                      <a:pt x="58" y="37"/>
                    </a:lnTo>
                    <a:lnTo>
                      <a:pt x="58" y="36"/>
                    </a:lnTo>
                    <a:lnTo>
                      <a:pt x="58" y="36"/>
                    </a:lnTo>
                    <a:lnTo>
                      <a:pt x="58" y="35"/>
                    </a:lnTo>
                    <a:lnTo>
                      <a:pt x="58" y="35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24"/>
                    </a:lnTo>
                    <a:lnTo>
                      <a:pt x="57" y="24"/>
                    </a:lnTo>
                    <a:lnTo>
                      <a:pt x="58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60" y="24"/>
                    </a:lnTo>
                    <a:lnTo>
                      <a:pt x="60" y="23"/>
                    </a:lnTo>
                    <a:lnTo>
                      <a:pt x="61" y="23"/>
                    </a:lnTo>
                    <a:lnTo>
                      <a:pt x="61" y="23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64" y="20"/>
                    </a:lnTo>
                    <a:lnTo>
                      <a:pt x="69" y="20"/>
                    </a:lnTo>
                    <a:lnTo>
                      <a:pt x="70" y="20"/>
                    </a:lnTo>
                    <a:lnTo>
                      <a:pt x="70" y="20"/>
                    </a:lnTo>
                    <a:lnTo>
                      <a:pt x="71" y="20"/>
                    </a:lnTo>
                    <a:lnTo>
                      <a:pt x="71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3" y="20"/>
                    </a:lnTo>
                    <a:lnTo>
                      <a:pt x="73" y="20"/>
                    </a:lnTo>
                    <a:lnTo>
                      <a:pt x="73" y="20"/>
                    </a:lnTo>
                    <a:lnTo>
                      <a:pt x="74" y="19"/>
                    </a:lnTo>
                    <a:lnTo>
                      <a:pt x="74" y="19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7"/>
                    </a:lnTo>
                    <a:lnTo>
                      <a:pt x="74" y="15"/>
                    </a:lnTo>
                    <a:lnTo>
                      <a:pt x="74" y="14"/>
                    </a:lnTo>
                    <a:lnTo>
                      <a:pt x="74" y="14"/>
                    </a:lnTo>
                    <a:lnTo>
                      <a:pt x="75" y="13"/>
                    </a:lnTo>
                    <a:lnTo>
                      <a:pt x="75" y="13"/>
                    </a:lnTo>
                    <a:lnTo>
                      <a:pt x="75" y="12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77" y="12"/>
                    </a:lnTo>
                    <a:lnTo>
                      <a:pt x="78" y="12"/>
                    </a:lnTo>
                    <a:lnTo>
                      <a:pt x="79" y="12"/>
                    </a:lnTo>
                    <a:lnTo>
                      <a:pt x="79" y="12"/>
                    </a:lnTo>
                    <a:lnTo>
                      <a:pt x="80" y="12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3" y="13"/>
                    </a:lnTo>
                    <a:lnTo>
                      <a:pt x="83" y="12"/>
                    </a:lnTo>
                    <a:lnTo>
                      <a:pt x="83" y="12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5" y="10"/>
                    </a:lnTo>
                    <a:lnTo>
                      <a:pt x="86" y="10"/>
                    </a:lnTo>
                    <a:lnTo>
                      <a:pt x="88" y="10"/>
                    </a:lnTo>
                    <a:lnTo>
                      <a:pt x="89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1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4" y="8"/>
                    </a:lnTo>
                    <a:lnTo>
                      <a:pt x="94" y="8"/>
                    </a:lnTo>
                    <a:lnTo>
                      <a:pt x="95" y="7"/>
                    </a:lnTo>
                    <a:lnTo>
                      <a:pt x="96" y="7"/>
                    </a:lnTo>
                    <a:lnTo>
                      <a:pt x="96" y="6"/>
                    </a:lnTo>
                    <a:lnTo>
                      <a:pt x="97" y="5"/>
                    </a:lnTo>
                    <a:lnTo>
                      <a:pt x="97" y="5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9" y="3"/>
                    </a:lnTo>
                    <a:lnTo>
                      <a:pt x="99" y="3"/>
                    </a:lnTo>
                    <a:lnTo>
                      <a:pt x="100" y="3"/>
                    </a:lnTo>
                    <a:lnTo>
                      <a:pt x="100" y="2"/>
                    </a:lnTo>
                    <a:lnTo>
                      <a:pt x="101" y="2"/>
                    </a:lnTo>
                    <a:lnTo>
                      <a:pt x="101" y="2"/>
                    </a:lnTo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  <a:defRPr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78" name="Freeform 6"/>
              <p:cNvSpPr>
                <a:spLocks/>
              </p:cNvSpPr>
              <p:nvPr/>
            </p:nvSpPr>
            <p:spPr bwMode="auto">
              <a:xfrm>
                <a:off x="6443784" y="2364327"/>
                <a:ext cx="1984375" cy="1842130"/>
              </a:xfrm>
              <a:custGeom>
                <a:avLst/>
                <a:gdLst/>
                <a:ahLst/>
                <a:cxnLst>
                  <a:cxn ang="0">
                    <a:pos x="25" y="46"/>
                  </a:cxn>
                  <a:cxn ang="0">
                    <a:pos x="15" y="28"/>
                  </a:cxn>
                  <a:cxn ang="0">
                    <a:pos x="19" y="11"/>
                  </a:cxn>
                  <a:cxn ang="0">
                    <a:pos x="33" y="2"/>
                  </a:cxn>
                  <a:cxn ang="0">
                    <a:pos x="37" y="9"/>
                  </a:cxn>
                  <a:cxn ang="0">
                    <a:pos x="42" y="15"/>
                  </a:cxn>
                  <a:cxn ang="0">
                    <a:pos x="46" y="22"/>
                  </a:cxn>
                  <a:cxn ang="0">
                    <a:pos x="51" y="28"/>
                  </a:cxn>
                  <a:cxn ang="0">
                    <a:pos x="61" y="20"/>
                  </a:cxn>
                  <a:cxn ang="0">
                    <a:pos x="61" y="13"/>
                  </a:cxn>
                  <a:cxn ang="0">
                    <a:pos x="65" y="11"/>
                  </a:cxn>
                  <a:cxn ang="0">
                    <a:pos x="70" y="13"/>
                  </a:cxn>
                  <a:cxn ang="0">
                    <a:pos x="72" y="18"/>
                  </a:cxn>
                  <a:cxn ang="0">
                    <a:pos x="77" y="21"/>
                  </a:cxn>
                  <a:cxn ang="0">
                    <a:pos x="83" y="24"/>
                  </a:cxn>
                  <a:cxn ang="0">
                    <a:pos x="92" y="21"/>
                  </a:cxn>
                  <a:cxn ang="0">
                    <a:pos x="104" y="16"/>
                  </a:cxn>
                  <a:cxn ang="0">
                    <a:pos x="111" y="14"/>
                  </a:cxn>
                  <a:cxn ang="0">
                    <a:pos x="114" y="11"/>
                  </a:cxn>
                  <a:cxn ang="0">
                    <a:pos x="124" y="12"/>
                  </a:cxn>
                  <a:cxn ang="0">
                    <a:pos x="131" y="18"/>
                  </a:cxn>
                  <a:cxn ang="0">
                    <a:pos x="134" y="23"/>
                  </a:cxn>
                  <a:cxn ang="0">
                    <a:pos x="137" y="28"/>
                  </a:cxn>
                  <a:cxn ang="0">
                    <a:pos x="146" y="30"/>
                  </a:cxn>
                  <a:cxn ang="0">
                    <a:pos x="152" y="33"/>
                  </a:cxn>
                  <a:cxn ang="0">
                    <a:pos x="155" y="38"/>
                  </a:cxn>
                  <a:cxn ang="0">
                    <a:pos x="160" y="41"/>
                  </a:cxn>
                  <a:cxn ang="0">
                    <a:pos x="176" y="43"/>
                  </a:cxn>
                  <a:cxn ang="0">
                    <a:pos x="183" y="41"/>
                  </a:cxn>
                  <a:cxn ang="0">
                    <a:pos x="189" y="34"/>
                  </a:cxn>
                  <a:cxn ang="0">
                    <a:pos x="192" y="39"/>
                  </a:cxn>
                  <a:cxn ang="0">
                    <a:pos x="200" y="46"/>
                  </a:cxn>
                  <a:cxn ang="0">
                    <a:pos x="194" y="53"/>
                  </a:cxn>
                  <a:cxn ang="0">
                    <a:pos x="193" y="68"/>
                  </a:cxn>
                  <a:cxn ang="0">
                    <a:pos x="180" y="99"/>
                  </a:cxn>
                  <a:cxn ang="0">
                    <a:pos x="183" y="103"/>
                  </a:cxn>
                  <a:cxn ang="0">
                    <a:pos x="186" y="107"/>
                  </a:cxn>
                  <a:cxn ang="0">
                    <a:pos x="179" y="119"/>
                  </a:cxn>
                  <a:cxn ang="0">
                    <a:pos x="175" y="123"/>
                  </a:cxn>
                  <a:cxn ang="0">
                    <a:pos x="169" y="124"/>
                  </a:cxn>
                  <a:cxn ang="0">
                    <a:pos x="162" y="122"/>
                  </a:cxn>
                  <a:cxn ang="0">
                    <a:pos x="157" y="125"/>
                  </a:cxn>
                  <a:cxn ang="0">
                    <a:pos x="144" y="125"/>
                  </a:cxn>
                  <a:cxn ang="0">
                    <a:pos x="132" y="124"/>
                  </a:cxn>
                  <a:cxn ang="0">
                    <a:pos x="131" y="138"/>
                  </a:cxn>
                  <a:cxn ang="0">
                    <a:pos x="129" y="159"/>
                  </a:cxn>
                  <a:cxn ang="0">
                    <a:pos x="124" y="169"/>
                  </a:cxn>
                  <a:cxn ang="0">
                    <a:pos x="110" y="150"/>
                  </a:cxn>
                  <a:cxn ang="0">
                    <a:pos x="93" y="146"/>
                  </a:cxn>
                  <a:cxn ang="0">
                    <a:pos x="70" y="140"/>
                  </a:cxn>
                  <a:cxn ang="0">
                    <a:pos x="64" y="143"/>
                  </a:cxn>
                  <a:cxn ang="0">
                    <a:pos x="39" y="138"/>
                  </a:cxn>
                  <a:cxn ang="0">
                    <a:pos x="20" y="143"/>
                  </a:cxn>
                  <a:cxn ang="0">
                    <a:pos x="9" y="147"/>
                  </a:cxn>
                  <a:cxn ang="0">
                    <a:pos x="12" y="125"/>
                  </a:cxn>
                  <a:cxn ang="0">
                    <a:pos x="8" y="114"/>
                  </a:cxn>
                  <a:cxn ang="0">
                    <a:pos x="9" y="103"/>
                  </a:cxn>
                  <a:cxn ang="0">
                    <a:pos x="9" y="97"/>
                  </a:cxn>
                  <a:cxn ang="0">
                    <a:pos x="6" y="80"/>
                  </a:cxn>
                  <a:cxn ang="0">
                    <a:pos x="0" y="67"/>
                  </a:cxn>
                  <a:cxn ang="0">
                    <a:pos x="5" y="59"/>
                  </a:cxn>
                </a:cxnLst>
                <a:rect l="0" t="0" r="r" b="b"/>
                <a:pathLst>
                  <a:path w="200" h="172">
                    <a:moveTo>
                      <a:pt x="11" y="52"/>
                    </a:moveTo>
                    <a:lnTo>
                      <a:pt x="12" y="52"/>
                    </a:lnTo>
                    <a:lnTo>
                      <a:pt x="14" y="52"/>
                    </a:lnTo>
                    <a:lnTo>
                      <a:pt x="15" y="52"/>
                    </a:lnTo>
                    <a:lnTo>
                      <a:pt x="16" y="52"/>
                    </a:lnTo>
                    <a:lnTo>
                      <a:pt x="18" y="52"/>
                    </a:lnTo>
                    <a:lnTo>
                      <a:pt x="19" y="51"/>
                    </a:lnTo>
                    <a:lnTo>
                      <a:pt x="20" y="51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2" y="49"/>
                    </a:lnTo>
                    <a:lnTo>
                      <a:pt x="23" y="48"/>
                    </a:lnTo>
                    <a:lnTo>
                      <a:pt x="24" y="48"/>
                    </a:lnTo>
                    <a:lnTo>
                      <a:pt x="24" y="47"/>
                    </a:lnTo>
                    <a:lnTo>
                      <a:pt x="25" y="46"/>
                    </a:lnTo>
                    <a:lnTo>
                      <a:pt x="25" y="45"/>
                    </a:lnTo>
                    <a:lnTo>
                      <a:pt x="26" y="44"/>
                    </a:lnTo>
                    <a:lnTo>
                      <a:pt x="26" y="43"/>
                    </a:lnTo>
                    <a:lnTo>
                      <a:pt x="25" y="42"/>
                    </a:lnTo>
                    <a:lnTo>
                      <a:pt x="25" y="40"/>
                    </a:lnTo>
                    <a:lnTo>
                      <a:pt x="25" y="39"/>
                    </a:lnTo>
                    <a:lnTo>
                      <a:pt x="24" y="38"/>
                    </a:lnTo>
                    <a:lnTo>
                      <a:pt x="23" y="37"/>
                    </a:lnTo>
                    <a:lnTo>
                      <a:pt x="23" y="35"/>
                    </a:lnTo>
                    <a:lnTo>
                      <a:pt x="22" y="34"/>
                    </a:lnTo>
                    <a:lnTo>
                      <a:pt x="21" y="33"/>
                    </a:lnTo>
                    <a:lnTo>
                      <a:pt x="19" y="31"/>
                    </a:lnTo>
                    <a:lnTo>
                      <a:pt x="17" y="30"/>
                    </a:lnTo>
                    <a:lnTo>
                      <a:pt x="16" y="29"/>
                    </a:lnTo>
                    <a:lnTo>
                      <a:pt x="15" y="28"/>
                    </a:lnTo>
                    <a:lnTo>
                      <a:pt x="15" y="27"/>
                    </a:lnTo>
                    <a:lnTo>
                      <a:pt x="14" y="25"/>
                    </a:lnTo>
                    <a:lnTo>
                      <a:pt x="14" y="24"/>
                    </a:lnTo>
                    <a:lnTo>
                      <a:pt x="14" y="23"/>
                    </a:lnTo>
                    <a:lnTo>
                      <a:pt x="14" y="22"/>
                    </a:lnTo>
                    <a:lnTo>
                      <a:pt x="14" y="21"/>
                    </a:lnTo>
                    <a:lnTo>
                      <a:pt x="14" y="19"/>
                    </a:lnTo>
                    <a:lnTo>
                      <a:pt x="14" y="18"/>
                    </a:lnTo>
                    <a:lnTo>
                      <a:pt x="15" y="17"/>
                    </a:lnTo>
                    <a:lnTo>
                      <a:pt x="15" y="17"/>
                    </a:lnTo>
                    <a:lnTo>
                      <a:pt x="15" y="16"/>
                    </a:lnTo>
                    <a:lnTo>
                      <a:pt x="16" y="15"/>
                    </a:lnTo>
                    <a:lnTo>
                      <a:pt x="17" y="13"/>
                    </a:lnTo>
                    <a:lnTo>
                      <a:pt x="18" y="12"/>
                    </a:lnTo>
                    <a:lnTo>
                      <a:pt x="19" y="11"/>
                    </a:lnTo>
                    <a:lnTo>
                      <a:pt x="20" y="9"/>
                    </a:lnTo>
                    <a:lnTo>
                      <a:pt x="21" y="8"/>
                    </a:lnTo>
                    <a:lnTo>
                      <a:pt x="22" y="7"/>
                    </a:lnTo>
                    <a:lnTo>
                      <a:pt x="24" y="5"/>
                    </a:lnTo>
                    <a:lnTo>
                      <a:pt x="25" y="4"/>
                    </a:lnTo>
                    <a:lnTo>
                      <a:pt x="26" y="3"/>
                    </a:lnTo>
                    <a:lnTo>
                      <a:pt x="28" y="2"/>
                    </a:lnTo>
                    <a:lnTo>
                      <a:pt x="29" y="1"/>
                    </a:lnTo>
                    <a:lnTo>
                      <a:pt x="30" y="0"/>
                    </a:lnTo>
                    <a:lnTo>
                      <a:pt x="31" y="0"/>
                    </a:lnTo>
                    <a:lnTo>
                      <a:pt x="31" y="1"/>
                    </a:lnTo>
                    <a:lnTo>
                      <a:pt x="32" y="1"/>
                    </a:lnTo>
                    <a:lnTo>
                      <a:pt x="32" y="1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33" y="3"/>
                    </a:lnTo>
                    <a:lnTo>
                      <a:pt x="34" y="4"/>
                    </a:lnTo>
                    <a:lnTo>
                      <a:pt x="34" y="5"/>
                    </a:lnTo>
                    <a:lnTo>
                      <a:pt x="35" y="6"/>
                    </a:lnTo>
                    <a:lnTo>
                      <a:pt x="35" y="7"/>
                    </a:lnTo>
                    <a:lnTo>
                      <a:pt x="36" y="7"/>
                    </a:lnTo>
                    <a:lnTo>
                      <a:pt x="36" y="7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1"/>
                    </a:lnTo>
                    <a:lnTo>
                      <a:pt x="39" y="11"/>
                    </a:lnTo>
                    <a:lnTo>
                      <a:pt x="39" y="12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1" y="14"/>
                    </a:lnTo>
                    <a:lnTo>
                      <a:pt x="40" y="14"/>
                    </a:lnTo>
                    <a:lnTo>
                      <a:pt x="40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3" y="17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4" y="19"/>
                    </a:lnTo>
                    <a:lnTo>
                      <a:pt x="45" y="19"/>
                    </a:lnTo>
                    <a:lnTo>
                      <a:pt x="45" y="20"/>
                    </a:lnTo>
                    <a:lnTo>
                      <a:pt x="46" y="20"/>
                    </a:lnTo>
                    <a:lnTo>
                      <a:pt x="45" y="21"/>
                    </a:lnTo>
                    <a:lnTo>
                      <a:pt x="45" y="21"/>
                    </a:lnTo>
                    <a:lnTo>
                      <a:pt x="46" y="21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7" y="22"/>
                    </a:lnTo>
                    <a:lnTo>
                      <a:pt x="47" y="22"/>
                    </a:lnTo>
                    <a:lnTo>
                      <a:pt x="47" y="23"/>
                    </a:lnTo>
                    <a:lnTo>
                      <a:pt x="48" y="23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9" y="25"/>
                    </a:lnTo>
                    <a:lnTo>
                      <a:pt x="49" y="25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1" y="27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1" y="28"/>
                    </a:lnTo>
                    <a:lnTo>
                      <a:pt x="51" y="28"/>
                    </a:lnTo>
                    <a:lnTo>
                      <a:pt x="51" y="29"/>
                    </a:lnTo>
                    <a:lnTo>
                      <a:pt x="51" y="29"/>
                    </a:lnTo>
                    <a:lnTo>
                      <a:pt x="52" y="29"/>
                    </a:lnTo>
                    <a:lnTo>
                      <a:pt x="52" y="29"/>
                    </a:lnTo>
                    <a:lnTo>
                      <a:pt x="53" y="28"/>
                    </a:lnTo>
                    <a:lnTo>
                      <a:pt x="55" y="27"/>
                    </a:lnTo>
                    <a:lnTo>
                      <a:pt x="56" y="26"/>
                    </a:lnTo>
                    <a:lnTo>
                      <a:pt x="57" y="25"/>
                    </a:lnTo>
                    <a:lnTo>
                      <a:pt x="58" y="24"/>
                    </a:lnTo>
                    <a:lnTo>
                      <a:pt x="59" y="23"/>
                    </a:lnTo>
                    <a:lnTo>
                      <a:pt x="60" y="22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2" y="20"/>
                    </a:lnTo>
                    <a:lnTo>
                      <a:pt x="62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8"/>
                    </a:lnTo>
                    <a:lnTo>
                      <a:pt x="61" y="17"/>
                    </a:lnTo>
                    <a:lnTo>
                      <a:pt x="60" y="16"/>
                    </a:lnTo>
                    <a:lnTo>
                      <a:pt x="60" y="15"/>
                    </a:lnTo>
                    <a:lnTo>
                      <a:pt x="61" y="14"/>
                    </a:lnTo>
                    <a:lnTo>
                      <a:pt x="61" y="13"/>
                    </a:lnTo>
                    <a:lnTo>
                      <a:pt x="61" y="13"/>
                    </a:lnTo>
                    <a:lnTo>
                      <a:pt x="61" y="13"/>
                    </a:lnTo>
                    <a:lnTo>
                      <a:pt x="61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3" y="12"/>
                    </a:lnTo>
                    <a:lnTo>
                      <a:pt x="63" y="12"/>
                    </a:lnTo>
                    <a:lnTo>
                      <a:pt x="63" y="12"/>
                    </a:lnTo>
                    <a:lnTo>
                      <a:pt x="64" y="12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6" y="11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7" y="12"/>
                    </a:lnTo>
                    <a:lnTo>
                      <a:pt x="67" y="12"/>
                    </a:lnTo>
                    <a:lnTo>
                      <a:pt x="68" y="12"/>
                    </a:lnTo>
                    <a:lnTo>
                      <a:pt x="69" y="12"/>
                    </a:lnTo>
                    <a:lnTo>
                      <a:pt x="69" y="12"/>
                    </a:lnTo>
                    <a:lnTo>
                      <a:pt x="70" y="13"/>
                    </a:lnTo>
                    <a:lnTo>
                      <a:pt x="70" y="13"/>
                    </a:lnTo>
                    <a:lnTo>
                      <a:pt x="70" y="13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1" y="15"/>
                    </a:lnTo>
                    <a:lnTo>
                      <a:pt x="71" y="15"/>
                    </a:lnTo>
                    <a:lnTo>
                      <a:pt x="71" y="16"/>
                    </a:lnTo>
                    <a:lnTo>
                      <a:pt x="71" y="16"/>
                    </a:lnTo>
                    <a:lnTo>
                      <a:pt x="71" y="16"/>
                    </a:lnTo>
                    <a:lnTo>
                      <a:pt x="71" y="17"/>
                    </a:lnTo>
                    <a:lnTo>
                      <a:pt x="71" y="17"/>
                    </a:lnTo>
                    <a:lnTo>
                      <a:pt x="71" y="17"/>
                    </a:lnTo>
                    <a:lnTo>
                      <a:pt x="72" y="17"/>
                    </a:lnTo>
                    <a:lnTo>
                      <a:pt x="72" y="17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3" y="19"/>
                    </a:lnTo>
                    <a:lnTo>
                      <a:pt x="74" y="19"/>
                    </a:lnTo>
                    <a:lnTo>
                      <a:pt x="75" y="19"/>
                    </a:lnTo>
                    <a:lnTo>
                      <a:pt x="75" y="19"/>
                    </a:lnTo>
                    <a:lnTo>
                      <a:pt x="76" y="19"/>
                    </a:lnTo>
                    <a:lnTo>
                      <a:pt x="76" y="19"/>
                    </a:lnTo>
                    <a:lnTo>
                      <a:pt x="77" y="19"/>
                    </a:lnTo>
                    <a:lnTo>
                      <a:pt x="77" y="20"/>
                    </a:lnTo>
                    <a:lnTo>
                      <a:pt x="77" y="20"/>
                    </a:lnTo>
                    <a:lnTo>
                      <a:pt x="77" y="20"/>
                    </a:lnTo>
                    <a:lnTo>
                      <a:pt x="77" y="21"/>
                    </a:lnTo>
                    <a:lnTo>
                      <a:pt x="77" y="21"/>
                    </a:lnTo>
                    <a:lnTo>
                      <a:pt x="77" y="21"/>
                    </a:lnTo>
                    <a:lnTo>
                      <a:pt x="77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9" y="22"/>
                    </a:lnTo>
                    <a:lnTo>
                      <a:pt x="79" y="22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80" y="24"/>
                    </a:lnTo>
                    <a:lnTo>
                      <a:pt x="81" y="24"/>
                    </a:lnTo>
                    <a:lnTo>
                      <a:pt x="82" y="24"/>
                    </a:lnTo>
                    <a:lnTo>
                      <a:pt x="83" y="24"/>
                    </a:lnTo>
                    <a:lnTo>
                      <a:pt x="83" y="24"/>
                    </a:lnTo>
                    <a:lnTo>
                      <a:pt x="84" y="24"/>
                    </a:lnTo>
                    <a:lnTo>
                      <a:pt x="85" y="24"/>
                    </a:lnTo>
                    <a:lnTo>
                      <a:pt x="86" y="24"/>
                    </a:lnTo>
                    <a:lnTo>
                      <a:pt x="87" y="24"/>
                    </a:lnTo>
                    <a:lnTo>
                      <a:pt x="88" y="23"/>
                    </a:lnTo>
                    <a:lnTo>
                      <a:pt x="89" y="23"/>
                    </a:lnTo>
                    <a:lnTo>
                      <a:pt x="90" y="23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1" y="22"/>
                    </a:lnTo>
                    <a:lnTo>
                      <a:pt x="91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0"/>
                    </a:lnTo>
                    <a:lnTo>
                      <a:pt x="94" y="21"/>
                    </a:lnTo>
                    <a:lnTo>
                      <a:pt x="95" y="21"/>
                    </a:lnTo>
                    <a:lnTo>
                      <a:pt x="96" y="21"/>
                    </a:lnTo>
                    <a:lnTo>
                      <a:pt x="97" y="21"/>
                    </a:lnTo>
                    <a:lnTo>
                      <a:pt x="98" y="20"/>
                    </a:lnTo>
                    <a:lnTo>
                      <a:pt x="99" y="20"/>
                    </a:lnTo>
                    <a:lnTo>
                      <a:pt x="100" y="20"/>
                    </a:lnTo>
                    <a:lnTo>
                      <a:pt x="100" y="19"/>
                    </a:lnTo>
                    <a:lnTo>
                      <a:pt x="101" y="19"/>
                    </a:lnTo>
                    <a:lnTo>
                      <a:pt x="102" y="18"/>
                    </a:lnTo>
                    <a:lnTo>
                      <a:pt x="103" y="17"/>
                    </a:lnTo>
                    <a:lnTo>
                      <a:pt x="104" y="16"/>
                    </a:lnTo>
                    <a:lnTo>
                      <a:pt x="105" y="16"/>
                    </a:lnTo>
                    <a:lnTo>
                      <a:pt x="106" y="15"/>
                    </a:lnTo>
                    <a:lnTo>
                      <a:pt x="106" y="16"/>
                    </a:lnTo>
                    <a:lnTo>
                      <a:pt x="107" y="16"/>
                    </a:lnTo>
                    <a:lnTo>
                      <a:pt x="107" y="15"/>
                    </a:lnTo>
                    <a:lnTo>
                      <a:pt x="108" y="15"/>
                    </a:lnTo>
                    <a:lnTo>
                      <a:pt x="108" y="15"/>
                    </a:lnTo>
                    <a:lnTo>
                      <a:pt x="108" y="15"/>
                    </a:lnTo>
                    <a:lnTo>
                      <a:pt x="109" y="14"/>
                    </a:lnTo>
                    <a:lnTo>
                      <a:pt x="109" y="14"/>
                    </a:lnTo>
                    <a:lnTo>
                      <a:pt x="109" y="14"/>
                    </a:lnTo>
                    <a:lnTo>
                      <a:pt x="110" y="14"/>
                    </a:lnTo>
                    <a:lnTo>
                      <a:pt x="110" y="14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2" y="14"/>
                    </a:lnTo>
                    <a:lnTo>
                      <a:pt x="112" y="13"/>
                    </a:lnTo>
                    <a:lnTo>
                      <a:pt x="112" y="13"/>
                    </a:lnTo>
                    <a:lnTo>
                      <a:pt x="112" y="13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1"/>
                    </a:lnTo>
                    <a:lnTo>
                      <a:pt x="112" y="11"/>
                    </a:lnTo>
                    <a:lnTo>
                      <a:pt x="112" y="11"/>
                    </a:lnTo>
                    <a:lnTo>
                      <a:pt x="113" y="11"/>
                    </a:lnTo>
                    <a:lnTo>
                      <a:pt x="113" y="10"/>
                    </a:lnTo>
                    <a:lnTo>
                      <a:pt x="113" y="10"/>
                    </a:lnTo>
                    <a:lnTo>
                      <a:pt x="114" y="11"/>
                    </a:lnTo>
                    <a:lnTo>
                      <a:pt x="116" y="11"/>
                    </a:lnTo>
                    <a:lnTo>
                      <a:pt x="119" y="11"/>
                    </a:lnTo>
                    <a:lnTo>
                      <a:pt x="119" y="11"/>
                    </a:lnTo>
                    <a:lnTo>
                      <a:pt x="120" y="11"/>
                    </a:lnTo>
                    <a:lnTo>
                      <a:pt x="120" y="11"/>
                    </a:lnTo>
                    <a:lnTo>
                      <a:pt x="121" y="11"/>
                    </a:lnTo>
                    <a:lnTo>
                      <a:pt x="122" y="11"/>
                    </a:lnTo>
                    <a:lnTo>
                      <a:pt x="122" y="11"/>
                    </a:lnTo>
                    <a:lnTo>
                      <a:pt x="122" y="11"/>
                    </a:lnTo>
                    <a:lnTo>
                      <a:pt x="122" y="12"/>
                    </a:lnTo>
                    <a:lnTo>
                      <a:pt x="122" y="12"/>
                    </a:lnTo>
                    <a:lnTo>
                      <a:pt x="123" y="12"/>
                    </a:lnTo>
                    <a:lnTo>
                      <a:pt x="123" y="12"/>
                    </a:lnTo>
                    <a:lnTo>
                      <a:pt x="123" y="12"/>
                    </a:lnTo>
                    <a:lnTo>
                      <a:pt x="124" y="12"/>
                    </a:lnTo>
                    <a:lnTo>
                      <a:pt x="125" y="12"/>
                    </a:lnTo>
                    <a:lnTo>
                      <a:pt x="125" y="12"/>
                    </a:lnTo>
                    <a:lnTo>
                      <a:pt x="126" y="12"/>
                    </a:lnTo>
                    <a:lnTo>
                      <a:pt x="126" y="12"/>
                    </a:lnTo>
                    <a:lnTo>
                      <a:pt x="127" y="13"/>
                    </a:lnTo>
                    <a:lnTo>
                      <a:pt x="127" y="13"/>
                    </a:lnTo>
                    <a:lnTo>
                      <a:pt x="128" y="13"/>
                    </a:lnTo>
                    <a:lnTo>
                      <a:pt x="128" y="14"/>
                    </a:lnTo>
                    <a:lnTo>
                      <a:pt x="129" y="14"/>
                    </a:lnTo>
                    <a:lnTo>
                      <a:pt x="129" y="15"/>
                    </a:lnTo>
                    <a:lnTo>
                      <a:pt x="130" y="16"/>
                    </a:lnTo>
                    <a:lnTo>
                      <a:pt x="131" y="17"/>
                    </a:lnTo>
                    <a:lnTo>
                      <a:pt x="130" y="18"/>
                    </a:lnTo>
                    <a:lnTo>
                      <a:pt x="130" y="1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1" y="19"/>
                    </a:lnTo>
                    <a:lnTo>
                      <a:pt x="131" y="19"/>
                    </a:lnTo>
                    <a:lnTo>
                      <a:pt x="132" y="19"/>
                    </a:lnTo>
                    <a:lnTo>
                      <a:pt x="132" y="19"/>
                    </a:lnTo>
                    <a:lnTo>
                      <a:pt x="132" y="19"/>
                    </a:lnTo>
                    <a:lnTo>
                      <a:pt x="132" y="20"/>
                    </a:lnTo>
                    <a:lnTo>
                      <a:pt x="133" y="20"/>
                    </a:lnTo>
                    <a:lnTo>
                      <a:pt x="133" y="20"/>
                    </a:lnTo>
                    <a:lnTo>
                      <a:pt x="133" y="21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4"/>
                    </a:lnTo>
                    <a:lnTo>
                      <a:pt x="135" y="24"/>
                    </a:lnTo>
                    <a:lnTo>
                      <a:pt x="135" y="24"/>
                    </a:lnTo>
                    <a:lnTo>
                      <a:pt x="136" y="24"/>
                    </a:lnTo>
                    <a:lnTo>
                      <a:pt x="136" y="24"/>
                    </a:lnTo>
                    <a:lnTo>
                      <a:pt x="136" y="25"/>
                    </a:lnTo>
                    <a:lnTo>
                      <a:pt x="136" y="25"/>
                    </a:lnTo>
                    <a:lnTo>
                      <a:pt x="136" y="26"/>
                    </a:lnTo>
                    <a:lnTo>
                      <a:pt x="137" y="26"/>
                    </a:lnTo>
                    <a:lnTo>
                      <a:pt x="137" y="27"/>
                    </a:lnTo>
                    <a:lnTo>
                      <a:pt x="137" y="27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8" y="29"/>
                    </a:lnTo>
                    <a:lnTo>
                      <a:pt x="138" y="29"/>
                    </a:lnTo>
                    <a:lnTo>
                      <a:pt x="138" y="29"/>
                    </a:lnTo>
                    <a:lnTo>
                      <a:pt x="139" y="29"/>
                    </a:lnTo>
                    <a:lnTo>
                      <a:pt x="140" y="29"/>
                    </a:lnTo>
                    <a:lnTo>
                      <a:pt x="142" y="29"/>
                    </a:lnTo>
                    <a:lnTo>
                      <a:pt x="144" y="29"/>
                    </a:lnTo>
                    <a:lnTo>
                      <a:pt x="145" y="29"/>
                    </a:lnTo>
                    <a:lnTo>
                      <a:pt x="145" y="29"/>
                    </a:lnTo>
                    <a:lnTo>
                      <a:pt x="145" y="29"/>
                    </a:lnTo>
                    <a:lnTo>
                      <a:pt x="145" y="30"/>
                    </a:lnTo>
                    <a:lnTo>
                      <a:pt x="146" y="30"/>
                    </a:lnTo>
                    <a:lnTo>
                      <a:pt x="146" y="30"/>
                    </a:lnTo>
                    <a:lnTo>
                      <a:pt x="146" y="30"/>
                    </a:lnTo>
                    <a:lnTo>
                      <a:pt x="147" y="30"/>
                    </a:lnTo>
                    <a:lnTo>
                      <a:pt x="147" y="30"/>
                    </a:lnTo>
                    <a:lnTo>
                      <a:pt x="148" y="30"/>
                    </a:lnTo>
                    <a:lnTo>
                      <a:pt x="149" y="30"/>
                    </a:lnTo>
                    <a:lnTo>
                      <a:pt x="150" y="30"/>
                    </a:lnTo>
                    <a:lnTo>
                      <a:pt x="151" y="30"/>
                    </a:lnTo>
                    <a:lnTo>
                      <a:pt x="150" y="31"/>
                    </a:lnTo>
                    <a:lnTo>
                      <a:pt x="150" y="31"/>
                    </a:lnTo>
                    <a:lnTo>
                      <a:pt x="151" y="31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2" y="33"/>
                    </a:lnTo>
                    <a:lnTo>
                      <a:pt x="152" y="33"/>
                    </a:lnTo>
                    <a:lnTo>
                      <a:pt x="153" y="33"/>
                    </a:lnTo>
                    <a:lnTo>
                      <a:pt x="153" y="34"/>
                    </a:lnTo>
                    <a:lnTo>
                      <a:pt x="153" y="35"/>
                    </a:lnTo>
                    <a:lnTo>
                      <a:pt x="154" y="35"/>
                    </a:lnTo>
                    <a:lnTo>
                      <a:pt x="154" y="35"/>
                    </a:lnTo>
                    <a:lnTo>
                      <a:pt x="154" y="36"/>
                    </a:lnTo>
                    <a:lnTo>
                      <a:pt x="154" y="36"/>
                    </a:lnTo>
                    <a:lnTo>
                      <a:pt x="154" y="37"/>
                    </a:lnTo>
                    <a:lnTo>
                      <a:pt x="154" y="37"/>
                    </a:lnTo>
                    <a:lnTo>
                      <a:pt x="154" y="37"/>
                    </a:lnTo>
                    <a:lnTo>
                      <a:pt x="155" y="37"/>
                    </a:lnTo>
                    <a:lnTo>
                      <a:pt x="155" y="37"/>
                    </a:lnTo>
                    <a:lnTo>
                      <a:pt x="155" y="37"/>
                    </a:lnTo>
                    <a:lnTo>
                      <a:pt x="155" y="38"/>
                    </a:lnTo>
                    <a:lnTo>
                      <a:pt x="156" y="38"/>
                    </a:lnTo>
                    <a:lnTo>
                      <a:pt x="156" y="38"/>
                    </a:lnTo>
                    <a:lnTo>
                      <a:pt x="156" y="39"/>
                    </a:lnTo>
                    <a:lnTo>
                      <a:pt x="156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40"/>
                    </a:lnTo>
                    <a:lnTo>
                      <a:pt x="157" y="40"/>
                    </a:lnTo>
                    <a:lnTo>
                      <a:pt x="158" y="40"/>
                    </a:lnTo>
                    <a:lnTo>
                      <a:pt x="158" y="40"/>
                    </a:lnTo>
                    <a:lnTo>
                      <a:pt x="158" y="40"/>
                    </a:lnTo>
                    <a:lnTo>
                      <a:pt x="159" y="40"/>
                    </a:lnTo>
                    <a:lnTo>
                      <a:pt x="160" y="41"/>
                    </a:lnTo>
                    <a:lnTo>
                      <a:pt x="160" y="41"/>
                    </a:lnTo>
                    <a:lnTo>
                      <a:pt x="161" y="42"/>
                    </a:lnTo>
                    <a:lnTo>
                      <a:pt x="162" y="42"/>
                    </a:lnTo>
                    <a:lnTo>
                      <a:pt x="163" y="42"/>
                    </a:lnTo>
                    <a:lnTo>
                      <a:pt x="164" y="42"/>
                    </a:lnTo>
                    <a:lnTo>
                      <a:pt x="165" y="42"/>
                    </a:lnTo>
                    <a:lnTo>
                      <a:pt x="166" y="42"/>
                    </a:lnTo>
                    <a:lnTo>
                      <a:pt x="168" y="42"/>
                    </a:lnTo>
                    <a:lnTo>
                      <a:pt x="171" y="42"/>
                    </a:lnTo>
                    <a:lnTo>
                      <a:pt x="173" y="42"/>
                    </a:lnTo>
                    <a:lnTo>
                      <a:pt x="174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7" y="43"/>
                    </a:lnTo>
                    <a:lnTo>
                      <a:pt x="177" y="43"/>
                    </a:lnTo>
                    <a:lnTo>
                      <a:pt x="177" y="42"/>
                    </a:lnTo>
                    <a:lnTo>
                      <a:pt x="177" y="42"/>
                    </a:lnTo>
                    <a:lnTo>
                      <a:pt x="178" y="42"/>
                    </a:lnTo>
                    <a:lnTo>
                      <a:pt x="179" y="42"/>
                    </a:lnTo>
                    <a:lnTo>
                      <a:pt x="180" y="42"/>
                    </a:lnTo>
                    <a:lnTo>
                      <a:pt x="181" y="42"/>
                    </a:lnTo>
                    <a:lnTo>
                      <a:pt x="182" y="42"/>
                    </a:lnTo>
                    <a:lnTo>
                      <a:pt x="182" y="41"/>
                    </a:lnTo>
                    <a:lnTo>
                      <a:pt x="183" y="41"/>
                    </a:lnTo>
                    <a:lnTo>
                      <a:pt x="184" y="40"/>
                    </a:lnTo>
                    <a:lnTo>
                      <a:pt x="184" y="40"/>
                    </a:lnTo>
                    <a:lnTo>
                      <a:pt x="185" y="39"/>
                    </a:lnTo>
                    <a:lnTo>
                      <a:pt x="185" y="38"/>
                    </a:lnTo>
                    <a:lnTo>
                      <a:pt x="186" y="37"/>
                    </a:lnTo>
                    <a:lnTo>
                      <a:pt x="187" y="35"/>
                    </a:lnTo>
                    <a:lnTo>
                      <a:pt x="188" y="36"/>
                    </a:lnTo>
                    <a:lnTo>
                      <a:pt x="188" y="35"/>
                    </a:lnTo>
                    <a:lnTo>
                      <a:pt x="188" y="35"/>
                    </a:lnTo>
                    <a:lnTo>
                      <a:pt x="188" y="35"/>
                    </a:lnTo>
                    <a:lnTo>
                      <a:pt x="189" y="35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90" y="34"/>
                    </a:lnTo>
                    <a:lnTo>
                      <a:pt x="190" y="34"/>
                    </a:lnTo>
                    <a:lnTo>
                      <a:pt x="190" y="35"/>
                    </a:lnTo>
                    <a:lnTo>
                      <a:pt x="190" y="35"/>
                    </a:lnTo>
                    <a:lnTo>
                      <a:pt x="190" y="36"/>
                    </a:lnTo>
                    <a:lnTo>
                      <a:pt x="190" y="36"/>
                    </a:lnTo>
                    <a:lnTo>
                      <a:pt x="190" y="37"/>
                    </a:lnTo>
                    <a:lnTo>
                      <a:pt x="190" y="38"/>
                    </a:lnTo>
                    <a:lnTo>
                      <a:pt x="190" y="38"/>
                    </a:lnTo>
                    <a:lnTo>
                      <a:pt x="190" y="38"/>
                    </a:lnTo>
                    <a:lnTo>
                      <a:pt x="191" y="38"/>
                    </a:lnTo>
                    <a:lnTo>
                      <a:pt x="191" y="39"/>
                    </a:lnTo>
                    <a:lnTo>
                      <a:pt x="191" y="39"/>
                    </a:lnTo>
                    <a:lnTo>
                      <a:pt x="192" y="39"/>
                    </a:lnTo>
                    <a:lnTo>
                      <a:pt x="192" y="39"/>
                    </a:lnTo>
                    <a:lnTo>
                      <a:pt x="193" y="39"/>
                    </a:lnTo>
                    <a:lnTo>
                      <a:pt x="193" y="39"/>
                    </a:lnTo>
                    <a:lnTo>
                      <a:pt x="194" y="39"/>
                    </a:lnTo>
                    <a:lnTo>
                      <a:pt x="194" y="39"/>
                    </a:lnTo>
                    <a:lnTo>
                      <a:pt x="195" y="40"/>
                    </a:lnTo>
                    <a:lnTo>
                      <a:pt x="196" y="41"/>
                    </a:lnTo>
                    <a:lnTo>
                      <a:pt x="197" y="41"/>
                    </a:lnTo>
                    <a:lnTo>
                      <a:pt x="197" y="42"/>
                    </a:lnTo>
                    <a:lnTo>
                      <a:pt x="198" y="43"/>
                    </a:lnTo>
                    <a:lnTo>
                      <a:pt x="199" y="44"/>
                    </a:lnTo>
                    <a:lnTo>
                      <a:pt x="199" y="44"/>
                    </a:lnTo>
                    <a:lnTo>
                      <a:pt x="199" y="45"/>
                    </a:lnTo>
                    <a:lnTo>
                      <a:pt x="199" y="45"/>
                    </a:lnTo>
                    <a:lnTo>
                      <a:pt x="199" y="45"/>
                    </a:lnTo>
                    <a:lnTo>
                      <a:pt x="200" y="46"/>
                    </a:lnTo>
                    <a:lnTo>
                      <a:pt x="200" y="47"/>
                    </a:lnTo>
                    <a:lnTo>
                      <a:pt x="200" y="47"/>
                    </a:lnTo>
                    <a:lnTo>
                      <a:pt x="200" y="47"/>
                    </a:lnTo>
                    <a:lnTo>
                      <a:pt x="199" y="47"/>
                    </a:lnTo>
                    <a:lnTo>
                      <a:pt x="198" y="47"/>
                    </a:lnTo>
                    <a:lnTo>
                      <a:pt x="198" y="47"/>
                    </a:lnTo>
                    <a:lnTo>
                      <a:pt x="197" y="48"/>
                    </a:lnTo>
                    <a:lnTo>
                      <a:pt x="197" y="48"/>
                    </a:lnTo>
                    <a:lnTo>
                      <a:pt x="196" y="48"/>
                    </a:lnTo>
                    <a:lnTo>
                      <a:pt x="196" y="48"/>
                    </a:lnTo>
                    <a:lnTo>
                      <a:pt x="195" y="49"/>
                    </a:lnTo>
                    <a:lnTo>
                      <a:pt x="195" y="50"/>
                    </a:lnTo>
                    <a:lnTo>
                      <a:pt x="194" y="51"/>
                    </a:lnTo>
                    <a:lnTo>
                      <a:pt x="194" y="52"/>
                    </a:lnTo>
                    <a:lnTo>
                      <a:pt x="194" y="53"/>
                    </a:lnTo>
                    <a:lnTo>
                      <a:pt x="194" y="54"/>
                    </a:lnTo>
                    <a:lnTo>
                      <a:pt x="194" y="54"/>
                    </a:lnTo>
                    <a:lnTo>
                      <a:pt x="195" y="55"/>
                    </a:lnTo>
                    <a:lnTo>
                      <a:pt x="196" y="56"/>
                    </a:lnTo>
                    <a:lnTo>
                      <a:pt x="196" y="58"/>
                    </a:lnTo>
                    <a:lnTo>
                      <a:pt x="197" y="58"/>
                    </a:lnTo>
                    <a:lnTo>
                      <a:pt x="197" y="59"/>
                    </a:lnTo>
                    <a:lnTo>
                      <a:pt x="197" y="60"/>
                    </a:lnTo>
                    <a:lnTo>
                      <a:pt x="197" y="61"/>
                    </a:lnTo>
                    <a:lnTo>
                      <a:pt x="198" y="62"/>
                    </a:lnTo>
                    <a:lnTo>
                      <a:pt x="198" y="63"/>
                    </a:lnTo>
                    <a:lnTo>
                      <a:pt x="197" y="64"/>
                    </a:lnTo>
                    <a:lnTo>
                      <a:pt x="197" y="65"/>
                    </a:lnTo>
                    <a:lnTo>
                      <a:pt x="195" y="67"/>
                    </a:lnTo>
                    <a:lnTo>
                      <a:pt x="193" y="68"/>
                    </a:lnTo>
                    <a:lnTo>
                      <a:pt x="188" y="71"/>
                    </a:lnTo>
                    <a:lnTo>
                      <a:pt x="186" y="72"/>
                    </a:lnTo>
                    <a:lnTo>
                      <a:pt x="184" y="73"/>
                    </a:lnTo>
                    <a:lnTo>
                      <a:pt x="181" y="74"/>
                    </a:lnTo>
                    <a:lnTo>
                      <a:pt x="179" y="75"/>
                    </a:lnTo>
                    <a:lnTo>
                      <a:pt x="179" y="79"/>
                    </a:lnTo>
                    <a:lnTo>
                      <a:pt x="179" y="82"/>
                    </a:lnTo>
                    <a:lnTo>
                      <a:pt x="179" y="85"/>
                    </a:lnTo>
                    <a:lnTo>
                      <a:pt x="179" y="88"/>
                    </a:lnTo>
                    <a:lnTo>
                      <a:pt x="179" y="91"/>
                    </a:lnTo>
                    <a:lnTo>
                      <a:pt x="179" y="93"/>
                    </a:lnTo>
                    <a:lnTo>
                      <a:pt x="180" y="96"/>
                    </a:lnTo>
                    <a:lnTo>
                      <a:pt x="181" y="99"/>
                    </a:lnTo>
                    <a:lnTo>
                      <a:pt x="180" y="99"/>
                    </a:lnTo>
                    <a:lnTo>
                      <a:pt x="180" y="99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2" y="100"/>
                    </a:lnTo>
                    <a:lnTo>
                      <a:pt x="182" y="100"/>
                    </a:lnTo>
                    <a:lnTo>
                      <a:pt x="182" y="101"/>
                    </a:lnTo>
                    <a:lnTo>
                      <a:pt x="182" y="101"/>
                    </a:lnTo>
                    <a:lnTo>
                      <a:pt x="182" y="102"/>
                    </a:lnTo>
                    <a:lnTo>
                      <a:pt x="182" y="102"/>
                    </a:lnTo>
                    <a:lnTo>
                      <a:pt x="182" y="102"/>
                    </a:lnTo>
                    <a:lnTo>
                      <a:pt x="182" y="103"/>
                    </a:lnTo>
                    <a:lnTo>
                      <a:pt x="182" y="103"/>
                    </a:lnTo>
                    <a:lnTo>
                      <a:pt x="182" y="103"/>
                    </a:lnTo>
                    <a:lnTo>
                      <a:pt x="183" y="103"/>
                    </a:lnTo>
                    <a:lnTo>
                      <a:pt x="183" y="103"/>
                    </a:lnTo>
                    <a:lnTo>
                      <a:pt x="183" y="104"/>
                    </a:lnTo>
                    <a:lnTo>
                      <a:pt x="184" y="104"/>
                    </a:lnTo>
                    <a:lnTo>
                      <a:pt x="184" y="104"/>
                    </a:lnTo>
                    <a:lnTo>
                      <a:pt x="184" y="104"/>
                    </a:lnTo>
                    <a:lnTo>
                      <a:pt x="184" y="105"/>
                    </a:lnTo>
                    <a:lnTo>
                      <a:pt x="184" y="105"/>
                    </a:lnTo>
                    <a:lnTo>
                      <a:pt x="184" y="106"/>
                    </a:lnTo>
                    <a:lnTo>
                      <a:pt x="184" y="106"/>
                    </a:lnTo>
                    <a:lnTo>
                      <a:pt x="184" y="106"/>
                    </a:lnTo>
                    <a:lnTo>
                      <a:pt x="184" y="107"/>
                    </a:lnTo>
                    <a:lnTo>
                      <a:pt x="184" y="107"/>
                    </a:lnTo>
                    <a:lnTo>
                      <a:pt x="185" y="107"/>
                    </a:lnTo>
                    <a:lnTo>
                      <a:pt x="185" y="107"/>
                    </a:lnTo>
                    <a:lnTo>
                      <a:pt x="186" y="107"/>
                    </a:lnTo>
                    <a:lnTo>
                      <a:pt x="186" y="109"/>
                    </a:lnTo>
                    <a:lnTo>
                      <a:pt x="186" y="111"/>
                    </a:lnTo>
                    <a:lnTo>
                      <a:pt x="186" y="113"/>
                    </a:lnTo>
                    <a:lnTo>
                      <a:pt x="186" y="115"/>
                    </a:lnTo>
                    <a:lnTo>
                      <a:pt x="185" y="115"/>
                    </a:lnTo>
                    <a:lnTo>
                      <a:pt x="184" y="116"/>
                    </a:lnTo>
                    <a:lnTo>
                      <a:pt x="184" y="116"/>
                    </a:lnTo>
                    <a:lnTo>
                      <a:pt x="183" y="116"/>
                    </a:lnTo>
                    <a:lnTo>
                      <a:pt x="183" y="117"/>
                    </a:lnTo>
                    <a:lnTo>
                      <a:pt x="183" y="117"/>
                    </a:lnTo>
                    <a:lnTo>
                      <a:pt x="183" y="118"/>
                    </a:lnTo>
                    <a:lnTo>
                      <a:pt x="182" y="119"/>
                    </a:lnTo>
                    <a:lnTo>
                      <a:pt x="181" y="119"/>
                    </a:lnTo>
                    <a:lnTo>
                      <a:pt x="180" y="119"/>
                    </a:lnTo>
                    <a:lnTo>
                      <a:pt x="179" y="119"/>
                    </a:lnTo>
                    <a:lnTo>
                      <a:pt x="179" y="119"/>
                    </a:lnTo>
                    <a:lnTo>
                      <a:pt x="179" y="119"/>
                    </a:lnTo>
                    <a:lnTo>
                      <a:pt x="178" y="119"/>
                    </a:lnTo>
                    <a:lnTo>
                      <a:pt x="178" y="119"/>
                    </a:lnTo>
                    <a:lnTo>
                      <a:pt x="178" y="119"/>
                    </a:lnTo>
                    <a:lnTo>
                      <a:pt x="177" y="119"/>
                    </a:lnTo>
                    <a:lnTo>
                      <a:pt x="177" y="119"/>
                    </a:lnTo>
                    <a:lnTo>
                      <a:pt x="177" y="119"/>
                    </a:lnTo>
                    <a:lnTo>
                      <a:pt x="177" y="120"/>
                    </a:lnTo>
                    <a:lnTo>
                      <a:pt x="177" y="120"/>
                    </a:lnTo>
                    <a:lnTo>
                      <a:pt x="177" y="121"/>
                    </a:lnTo>
                    <a:lnTo>
                      <a:pt x="177" y="121"/>
                    </a:lnTo>
                    <a:lnTo>
                      <a:pt x="176" y="122"/>
                    </a:lnTo>
                    <a:lnTo>
                      <a:pt x="176" y="122"/>
                    </a:lnTo>
                    <a:lnTo>
                      <a:pt x="175" y="123"/>
                    </a:lnTo>
                    <a:lnTo>
                      <a:pt x="175" y="123"/>
                    </a:lnTo>
                    <a:lnTo>
                      <a:pt x="174" y="124"/>
                    </a:lnTo>
                    <a:lnTo>
                      <a:pt x="174" y="125"/>
                    </a:lnTo>
                    <a:lnTo>
                      <a:pt x="174" y="125"/>
                    </a:lnTo>
                    <a:lnTo>
                      <a:pt x="174" y="125"/>
                    </a:lnTo>
                    <a:lnTo>
                      <a:pt x="173" y="125"/>
                    </a:lnTo>
                    <a:lnTo>
                      <a:pt x="173" y="125"/>
                    </a:lnTo>
                    <a:lnTo>
                      <a:pt x="173" y="125"/>
                    </a:lnTo>
                    <a:lnTo>
                      <a:pt x="172" y="125"/>
                    </a:lnTo>
                    <a:lnTo>
                      <a:pt x="172" y="125"/>
                    </a:lnTo>
                    <a:lnTo>
                      <a:pt x="171" y="125"/>
                    </a:lnTo>
                    <a:lnTo>
                      <a:pt x="171" y="125"/>
                    </a:lnTo>
                    <a:lnTo>
                      <a:pt x="170" y="125"/>
                    </a:lnTo>
                    <a:lnTo>
                      <a:pt x="170" y="124"/>
                    </a:lnTo>
                    <a:lnTo>
                      <a:pt x="169" y="124"/>
                    </a:lnTo>
                    <a:lnTo>
                      <a:pt x="169" y="124"/>
                    </a:lnTo>
                    <a:lnTo>
                      <a:pt x="169" y="123"/>
                    </a:lnTo>
                    <a:lnTo>
                      <a:pt x="169" y="123"/>
                    </a:lnTo>
                    <a:lnTo>
                      <a:pt x="168" y="123"/>
                    </a:lnTo>
                    <a:lnTo>
                      <a:pt x="168" y="122"/>
                    </a:lnTo>
                    <a:lnTo>
                      <a:pt x="168" y="122"/>
                    </a:lnTo>
                    <a:lnTo>
                      <a:pt x="167" y="122"/>
                    </a:lnTo>
                    <a:lnTo>
                      <a:pt x="166" y="122"/>
                    </a:lnTo>
                    <a:lnTo>
                      <a:pt x="165" y="122"/>
                    </a:lnTo>
                    <a:lnTo>
                      <a:pt x="164" y="122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62" y="122"/>
                    </a:lnTo>
                    <a:lnTo>
                      <a:pt x="162" y="122"/>
                    </a:lnTo>
                    <a:lnTo>
                      <a:pt x="162" y="123"/>
                    </a:lnTo>
                    <a:lnTo>
                      <a:pt x="162" y="123"/>
                    </a:lnTo>
                    <a:lnTo>
                      <a:pt x="162" y="124"/>
                    </a:lnTo>
                    <a:lnTo>
                      <a:pt x="161" y="124"/>
                    </a:lnTo>
                    <a:lnTo>
                      <a:pt x="160" y="124"/>
                    </a:lnTo>
                    <a:lnTo>
                      <a:pt x="160" y="124"/>
                    </a:lnTo>
                    <a:lnTo>
                      <a:pt x="159" y="124"/>
                    </a:lnTo>
                    <a:lnTo>
                      <a:pt x="158" y="123"/>
                    </a:lnTo>
                    <a:lnTo>
                      <a:pt x="158" y="123"/>
                    </a:lnTo>
                    <a:lnTo>
                      <a:pt x="158" y="124"/>
                    </a:lnTo>
                    <a:lnTo>
                      <a:pt x="157" y="124"/>
                    </a:lnTo>
                    <a:lnTo>
                      <a:pt x="157" y="124"/>
                    </a:lnTo>
                    <a:lnTo>
                      <a:pt x="157" y="124"/>
                    </a:lnTo>
                    <a:lnTo>
                      <a:pt x="157" y="125"/>
                    </a:lnTo>
                    <a:lnTo>
                      <a:pt x="157" y="125"/>
                    </a:lnTo>
                    <a:lnTo>
                      <a:pt x="156" y="125"/>
                    </a:lnTo>
                    <a:lnTo>
                      <a:pt x="155" y="125"/>
                    </a:lnTo>
                    <a:lnTo>
                      <a:pt x="155" y="125"/>
                    </a:lnTo>
                    <a:lnTo>
                      <a:pt x="154" y="125"/>
                    </a:lnTo>
                    <a:lnTo>
                      <a:pt x="154" y="125"/>
                    </a:lnTo>
                    <a:lnTo>
                      <a:pt x="153" y="125"/>
                    </a:lnTo>
                    <a:lnTo>
                      <a:pt x="152" y="125"/>
                    </a:lnTo>
                    <a:lnTo>
                      <a:pt x="151" y="125"/>
                    </a:lnTo>
                    <a:lnTo>
                      <a:pt x="151" y="125"/>
                    </a:lnTo>
                    <a:lnTo>
                      <a:pt x="149" y="125"/>
                    </a:lnTo>
                    <a:lnTo>
                      <a:pt x="148" y="126"/>
                    </a:lnTo>
                    <a:lnTo>
                      <a:pt x="147" y="126"/>
                    </a:lnTo>
                    <a:lnTo>
                      <a:pt x="146" y="125"/>
                    </a:lnTo>
                    <a:lnTo>
                      <a:pt x="145" y="125"/>
                    </a:lnTo>
                    <a:lnTo>
                      <a:pt x="144" y="125"/>
                    </a:lnTo>
                    <a:lnTo>
                      <a:pt x="143" y="125"/>
                    </a:lnTo>
                    <a:lnTo>
                      <a:pt x="142" y="124"/>
                    </a:lnTo>
                    <a:lnTo>
                      <a:pt x="141" y="124"/>
                    </a:lnTo>
                    <a:lnTo>
                      <a:pt x="139" y="123"/>
                    </a:lnTo>
                    <a:lnTo>
                      <a:pt x="138" y="123"/>
                    </a:lnTo>
                    <a:lnTo>
                      <a:pt x="137" y="122"/>
                    </a:lnTo>
                    <a:lnTo>
                      <a:pt x="137" y="122"/>
                    </a:lnTo>
                    <a:lnTo>
                      <a:pt x="136" y="122"/>
                    </a:lnTo>
                    <a:lnTo>
                      <a:pt x="135" y="122"/>
                    </a:lnTo>
                    <a:lnTo>
                      <a:pt x="135" y="122"/>
                    </a:lnTo>
                    <a:lnTo>
                      <a:pt x="134" y="122"/>
                    </a:lnTo>
                    <a:lnTo>
                      <a:pt x="134" y="122"/>
                    </a:lnTo>
                    <a:lnTo>
                      <a:pt x="133" y="123"/>
                    </a:lnTo>
                    <a:lnTo>
                      <a:pt x="133" y="124"/>
                    </a:lnTo>
                    <a:lnTo>
                      <a:pt x="132" y="124"/>
                    </a:lnTo>
                    <a:lnTo>
                      <a:pt x="132" y="125"/>
                    </a:lnTo>
                    <a:lnTo>
                      <a:pt x="132" y="126"/>
                    </a:lnTo>
                    <a:lnTo>
                      <a:pt x="132" y="127"/>
                    </a:lnTo>
                    <a:lnTo>
                      <a:pt x="132" y="129"/>
                    </a:lnTo>
                    <a:lnTo>
                      <a:pt x="132" y="130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2" y="135"/>
                    </a:lnTo>
                    <a:lnTo>
                      <a:pt x="132" y="136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31" y="137"/>
                    </a:lnTo>
                    <a:lnTo>
                      <a:pt x="131" y="138"/>
                    </a:lnTo>
                    <a:lnTo>
                      <a:pt x="131" y="138"/>
                    </a:lnTo>
                    <a:lnTo>
                      <a:pt x="131" y="139"/>
                    </a:lnTo>
                    <a:lnTo>
                      <a:pt x="131" y="139"/>
                    </a:lnTo>
                    <a:lnTo>
                      <a:pt x="131" y="140"/>
                    </a:lnTo>
                    <a:lnTo>
                      <a:pt x="131" y="140"/>
                    </a:lnTo>
                    <a:lnTo>
                      <a:pt x="131" y="144"/>
                    </a:lnTo>
                    <a:lnTo>
                      <a:pt x="131" y="149"/>
                    </a:lnTo>
                    <a:lnTo>
                      <a:pt x="131" y="153"/>
                    </a:lnTo>
                    <a:lnTo>
                      <a:pt x="131" y="157"/>
                    </a:lnTo>
                    <a:lnTo>
                      <a:pt x="130" y="157"/>
                    </a:lnTo>
                    <a:lnTo>
                      <a:pt x="130" y="157"/>
                    </a:lnTo>
                    <a:lnTo>
                      <a:pt x="130" y="157"/>
                    </a:lnTo>
                    <a:lnTo>
                      <a:pt x="129" y="158"/>
                    </a:lnTo>
                    <a:lnTo>
                      <a:pt x="129" y="158"/>
                    </a:lnTo>
                    <a:lnTo>
                      <a:pt x="129" y="159"/>
                    </a:lnTo>
                    <a:lnTo>
                      <a:pt x="129" y="159"/>
                    </a:lnTo>
                    <a:lnTo>
                      <a:pt x="129" y="160"/>
                    </a:lnTo>
                    <a:lnTo>
                      <a:pt x="129" y="160"/>
                    </a:lnTo>
                    <a:lnTo>
                      <a:pt x="129" y="162"/>
                    </a:lnTo>
                    <a:lnTo>
                      <a:pt x="129" y="163"/>
                    </a:lnTo>
                    <a:lnTo>
                      <a:pt x="129" y="166"/>
                    </a:lnTo>
                    <a:lnTo>
                      <a:pt x="129" y="169"/>
                    </a:lnTo>
                    <a:lnTo>
                      <a:pt x="129" y="170"/>
                    </a:lnTo>
                    <a:lnTo>
                      <a:pt x="129" y="172"/>
                    </a:lnTo>
                    <a:lnTo>
                      <a:pt x="128" y="172"/>
                    </a:lnTo>
                    <a:lnTo>
                      <a:pt x="127" y="172"/>
                    </a:lnTo>
                    <a:lnTo>
                      <a:pt x="126" y="171"/>
                    </a:lnTo>
                    <a:lnTo>
                      <a:pt x="125" y="171"/>
                    </a:lnTo>
                    <a:lnTo>
                      <a:pt x="125" y="170"/>
                    </a:lnTo>
                    <a:lnTo>
                      <a:pt x="125" y="170"/>
                    </a:lnTo>
                    <a:lnTo>
                      <a:pt x="124" y="169"/>
                    </a:lnTo>
                    <a:lnTo>
                      <a:pt x="124" y="169"/>
                    </a:lnTo>
                    <a:lnTo>
                      <a:pt x="124" y="168"/>
                    </a:lnTo>
                    <a:lnTo>
                      <a:pt x="124" y="168"/>
                    </a:lnTo>
                    <a:lnTo>
                      <a:pt x="124" y="167"/>
                    </a:lnTo>
                    <a:lnTo>
                      <a:pt x="123" y="167"/>
                    </a:lnTo>
                    <a:lnTo>
                      <a:pt x="123" y="167"/>
                    </a:lnTo>
                    <a:lnTo>
                      <a:pt x="123" y="167"/>
                    </a:lnTo>
                    <a:lnTo>
                      <a:pt x="122" y="167"/>
                    </a:lnTo>
                    <a:lnTo>
                      <a:pt x="122" y="167"/>
                    </a:lnTo>
                    <a:lnTo>
                      <a:pt x="120" y="164"/>
                    </a:lnTo>
                    <a:lnTo>
                      <a:pt x="118" y="162"/>
                    </a:lnTo>
                    <a:lnTo>
                      <a:pt x="116" y="159"/>
                    </a:lnTo>
                    <a:lnTo>
                      <a:pt x="114" y="156"/>
                    </a:lnTo>
                    <a:lnTo>
                      <a:pt x="112" y="153"/>
                    </a:lnTo>
                    <a:lnTo>
                      <a:pt x="110" y="150"/>
                    </a:lnTo>
                    <a:lnTo>
                      <a:pt x="109" y="148"/>
                    </a:lnTo>
                    <a:lnTo>
                      <a:pt x="109" y="147"/>
                    </a:lnTo>
                    <a:lnTo>
                      <a:pt x="108" y="145"/>
                    </a:lnTo>
                    <a:lnTo>
                      <a:pt x="107" y="144"/>
                    </a:lnTo>
                    <a:lnTo>
                      <a:pt x="106" y="144"/>
                    </a:lnTo>
                    <a:lnTo>
                      <a:pt x="105" y="144"/>
                    </a:lnTo>
                    <a:lnTo>
                      <a:pt x="104" y="145"/>
                    </a:lnTo>
                    <a:lnTo>
                      <a:pt x="103" y="145"/>
                    </a:lnTo>
                    <a:lnTo>
                      <a:pt x="102" y="145"/>
                    </a:lnTo>
                    <a:lnTo>
                      <a:pt x="101" y="145"/>
                    </a:lnTo>
                    <a:lnTo>
                      <a:pt x="100" y="146"/>
                    </a:lnTo>
                    <a:lnTo>
                      <a:pt x="99" y="146"/>
                    </a:lnTo>
                    <a:lnTo>
                      <a:pt x="97" y="146"/>
                    </a:lnTo>
                    <a:lnTo>
                      <a:pt x="95" y="146"/>
                    </a:lnTo>
                    <a:lnTo>
                      <a:pt x="93" y="146"/>
                    </a:lnTo>
                    <a:lnTo>
                      <a:pt x="90" y="145"/>
                    </a:lnTo>
                    <a:lnTo>
                      <a:pt x="88" y="145"/>
                    </a:lnTo>
                    <a:lnTo>
                      <a:pt x="86" y="144"/>
                    </a:lnTo>
                    <a:lnTo>
                      <a:pt x="84" y="144"/>
                    </a:lnTo>
                    <a:lnTo>
                      <a:pt x="82" y="143"/>
                    </a:lnTo>
                    <a:lnTo>
                      <a:pt x="80" y="143"/>
                    </a:lnTo>
                    <a:lnTo>
                      <a:pt x="78" y="142"/>
                    </a:lnTo>
                    <a:lnTo>
                      <a:pt x="74" y="140"/>
                    </a:lnTo>
                    <a:lnTo>
                      <a:pt x="73" y="140"/>
                    </a:lnTo>
                    <a:lnTo>
                      <a:pt x="72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0" y="140"/>
                    </a:lnTo>
                    <a:lnTo>
                      <a:pt x="70" y="140"/>
                    </a:lnTo>
                    <a:lnTo>
                      <a:pt x="69" y="140"/>
                    </a:lnTo>
                    <a:lnTo>
                      <a:pt x="69" y="140"/>
                    </a:lnTo>
                    <a:lnTo>
                      <a:pt x="69" y="141"/>
                    </a:lnTo>
                    <a:lnTo>
                      <a:pt x="69" y="141"/>
                    </a:lnTo>
                    <a:lnTo>
                      <a:pt x="69" y="141"/>
                    </a:lnTo>
                    <a:lnTo>
                      <a:pt x="69" y="142"/>
                    </a:lnTo>
                    <a:lnTo>
                      <a:pt x="68" y="142"/>
                    </a:lnTo>
                    <a:lnTo>
                      <a:pt x="67" y="142"/>
                    </a:lnTo>
                    <a:lnTo>
                      <a:pt x="67" y="142"/>
                    </a:lnTo>
                    <a:lnTo>
                      <a:pt x="66" y="142"/>
                    </a:lnTo>
                    <a:lnTo>
                      <a:pt x="65" y="142"/>
                    </a:lnTo>
                    <a:lnTo>
                      <a:pt x="65" y="142"/>
                    </a:lnTo>
                    <a:lnTo>
                      <a:pt x="65" y="142"/>
                    </a:lnTo>
                    <a:lnTo>
                      <a:pt x="64" y="143"/>
                    </a:lnTo>
                    <a:lnTo>
                      <a:pt x="64" y="143"/>
                    </a:lnTo>
                    <a:lnTo>
                      <a:pt x="63" y="143"/>
                    </a:lnTo>
                    <a:lnTo>
                      <a:pt x="63" y="143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1" y="144"/>
                    </a:lnTo>
                    <a:lnTo>
                      <a:pt x="61" y="144"/>
                    </a:lnTo>
                    <a:lnTo>
                      <a:pt x="58" y="143"/>
                    </a:lnTo>
                    <a:lnTo>
                      <a:pt x="55" y="142"/>
                    </a:lnTo>
                    <a:lnTo>
                      <a:pt x="53" y="141"/>
                    </a:lnTo>
                    <a:lnTo>
                      <a:pt x="50" y="140"/>
                    </a:lnTo>
                    <a:lnTo>
                      <a:pt x="47" y="140"/>
                    </a:lnTo>
                    <a:lnTo>
                      <a:pt x="44" y="139"/>
                    </a:lnTo>
                    <a:lnTo>
                      <a:pt x="42" y="138"/>
                    </a:lnTo>
                    <a:lnTo>
                      <a:pt x="40" y="138"/>
                    </a:lnTo>
                    <a:lnTo>
                      <a:pt x="39" y="138"/>
                    </a:lnTo>
                    <a:lnTo>
                      <a:pt x="37" y="138"/>
                    </a:lnTo>
                    <a:lnTo>
                      <a:pt x="36" y="138"/>
                    </a:lnTo>
                    <a:lnTo>
                      <a:pt x="35" y="138"/>
                    </a:lnTo>
                    <a:lnTo>
                      <a:pt x="33" y="138"/>
                    </a:lnTo>
                    <a:lnTo>
                      <a:pt x="32" y="138"/>
                    </a:lnTo>
                    <a:lnTo>
                      <a:pt x="31" y="138"/>
                    </a:lnTo>
                    <a:lnTo>
                      <a:pt x="29" y="138"/>
                    </a:lnTo>
                    <a:lnTo>
                      <a:pt x="28" y="139"/>
                    </a:lnTo>
                    <a:lnTo>
                      <a:pt x="27" y="139"/>
                    </a:lnTo>
                    <a:lnTo>
                      <a:pt x="26" y="139"/>
                    </a:lnTo>
                    <a:lnTo>
                      <a:pt x="25" y="140"/>
                    </a:lnTo>
                    <a:lnTo>
                      <a:pt x="23" y="140"/>
                    </a:lnTo>
                    <a:lnTo>
                      <a:pt x="22" y="141"/>
                    </a:lnTo>
                    <a:lnTo>
                      <a:pt x="21" y="142"/>
                    </a:lnTo>
                    <a:lnTo>
                      <a:pt x="20" y="143"/>
                    </a:lnTo>
                    <a:lnTo>
                      <a:pt x="19" y="144"/>
                    </a:lnTo>
                    <a:lnTo>
                      <a:pt x="18" y="143"/>
                    </a:lnTo>
                    <a:lnTo>
                      <a:pt x="18" y="143"/>
                    </a:lnTo>
                    <a:lnTo>
                      <a:pt x="17" y="143"/>
                    </a:lnTo>
                    <a:lnTo>
                      <a:pt x="16" y="143"/>
                    </a:lnTo>
                    <a:lnTo>
                      <a:pt x="15" y="143"/>
                    </a:lnTo>
                    <a:lnTo>
                      <a:pt x="14" y="143"/>
                    </a:lnTo>
                    <a:lnTo>
                      <a:pt x="14" y="144"/>
                    </a:lnTo>
                    <a:lnTo>
                      <a:pt x="13" y="144"/>
                    </a:lnTo>
                    <a:lnTo>
                      <a:pt x="12" y="144"/>
                    </a:lnTo>
                    <a:lnTo>
                      <a:pt x="11" y="145"/>
                    </a:lnTo>
                    <a:lnTo>
                      <a:pt x="11" y="146"/>
                    </a:lnTo>
                    <a:lnTo>
                      <a:pt x="10" y="146"/>
                    </a:lnTo>
                    <a:lnTo>
                      <a:pt x="10" y="146"/>
                    </a:lnTo>
                    <a:lnTo>
                      <a:pt x="9" y="147"/>
                    </a:lnTo>
                    <a:lnTo>
                      <a:pt x="8" y="147"/>
                    </a:lnTo>
                    <a:lnTo>
                      <a:pt x="7" y="147"/>
                    </a:lnTo>
                    <a:lnTo>
                      <a:pt x="7" y="137"/>
                    </a:lnTo>
                    <a:lnTo>
                      <a:pt x="7" y="127"/>
                    </a:lnTo>
                    <a:lnTo>
                      <a:pt x="8" y="127"/>
                    </a:lnTo>
                    <a:lnTo>
                      <a:pt x="8" y="127"/>
                    </a:lnTo>
                    <a:lnTo>
                      <a:pt x="8" y="127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5"/>
                    </a:lnTo>
                    <a:lnTo>
                      <a:pt x="10" y="125"/>
                    </a:lnTo>
                    <a:lnTo>
                      <a:pt x="11" y="125"/>
                    </a:lnTo>
                    <a:lnTo>
                      <a:pt x="12" y="125"/>
                    </a:lnTo>
                    <a:lnTo>
                      <a:pt x="12" y="124"/>
                    </a:lnTo>
                    <a:lnTo>
                      <a:pt x="13" y="124"/>
                    </a:lnTo>
                    <a:lnTo>
                      <a:pt x="13" y="123"/>
                    </a:lnTo>
                    <a:lnTo>
                      <a:pt x="14" y="123"/>
                    </a:lnTo>
                    <a:lnTo>
                      <a:pt x="14" y="122"/>
                    </a:lnTo>
                    <a:lnTo>
                      <a:pt x="14" y="121"/>
                    </a:lnTo>
                    <a:lnTo>
                      <a:pt x="14" y="120"/>
                    </a:lnTo>
                    <a:lnTo>
                      <a:pt x="13" y="119"/>
                    </a:lnTo>
                    <a:lnTo>
                      <a:pt x="13" y="118"/>
                    </a:lnTo>
                    <a:lnTo>
                      <a:pt x="12" y="117"/>
                    </a:lnTo>
                    <a:lnTo>
                      <a:pt x="11" y="117"/>
                    </a:lnTo>
                    <a:lnTo>
                      <a:pt x="11" y="116"/>
                    </a:lnTo>
                    <a:lnTo>
                      <a:pt x="10" y="115"/>
                    </a:lnTo>
                    <a:lnTo>
                      <a:pt x="9" y="114"/>
                    </a:lnTo>
                    <a:lnTo>
                      <a:pt x="8" y="114"/>
                    </a:lnTo>
                    <a:lnTo>
                      <a:pt x="8" y="113"/>
                    </a:lnTo>
                    <a:lnTo>
                      <a:pt x="7" y="113"/>
                    </a:lnTo>
                    <a:lnTo>
                      <a:pt x="6" y="112"/>
                    </a:lnTo>
                    <a:lnTo>
                      <a:pt x="6" y="111"/>
                    </a:lnTo>
                    <a:lnTo>
                      <a:pt x="6" y="110"/>
                    </a:lnTo>
                    <a:lnTo>
                      <a:pt x="6" y="109"/>
                    </a:lnTo>
                    <a:lnTo>
                      <a:pt x="6" y="109"/>
                    </a:lnTo>
                    <a:lnTo>
                      <a:pt x="6" y="108"/>
                    </a:lnTo>
                    <a:lnTo>
                      <a:pt x="6" y="107"/>
                    </a:lnTo>
                    <a:lnTo>
                      <a:pt x="7" y="107"/>
                    </a:lnTo>
                    <a:lnTo>
                      <a:pt x="7" y="106"/>
                    </a:lnTo>
                    <a:lnTo>
                      <a:pt x="8" y="105"/>
                    </a:lnTo>
                    <a:lnTo>
                      <a:pt x="8" y="105"/>
                    </a:lnTo>
                    <a:lnTo>
                      <a:pt x="8" y="104"/>
                    </a:lnTo>
                    <a:lnTo>
                      <a:pt x="9" y="103"/>
                    </a:lnTo>
                    <a:lnTo>
                      <a:pt x="9" y="103"/>
                    </a:lnTo>
                    <a:lnTo>
                      <a:pt x="9" y="102"/>
                    </a:lnTo>
                    <a:lnTo>
                      <a:pt x="9" y="101"/>
                    </a:lnTo>
                    <a:lnTo>
                      <a:pt x="9" y="100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7"/>
                    </a:lnTo>
                    <a:lnTo>
                      <a:pt x="9" y="97"/>
                    </a:lnTo>
                    <a:lnTo>
                      <a:pt x="9" y="97"/>
                    </a:lnTo>
                    <a:lnTo>
                      <a:pt x="9" y="97"/>
                    </a:lnTo>
                    <a:lnTo>
                      <a:pt x="8" y="96"/>
                    </a:lnTo>
                    <a:lnTo>
                      <a:pt x="8" y="95"/>
                    </a:lnTo>
                    <a:lnTo>
                      <a:pt x="8" y="94"/>
                    </a:lnTo>
                    <a:lnTo>
                      <a:pt x="7" y="93"/>
                    </a:lnTo>
                    <a:lnTo>
                      <a:pt x="7" y="92"/>
                    </a:lnTo>
                    <a:lnTo>
                      <a:pt x="7" y="91"/>
                    </a:lnTo>
                    <a:lnTo>
                      <a:pt x="6" y="90"/>
                    </a:lnTo>
                    <a:lnTo>
                      <a:pt x="6" y="90"/>
                    </a:lnTo>
                    <a:lnTo>
                      <a:pt x="6" y="88"/>
                    </a:lnTo>
                    <a:lnTo>
                      <a:pt x="6" y="86"/>
                    </a:lnTo>
                    <a:lnTo>
                      <a:pt x="6" y="84"/>
                    </a:lnTo>
                    <a:lnTo>
                      <a:pt x="6" y="82"/>
                    </a:lnTo>
                    <a:lnTo>
                      <a:pt x="6" y="80"/>
                    </a:lnTo>
                    <a:lnTo>
                      <a:pt x="6" y="78"/>
                    </a:lnTo>
                    <a:lnTo>
                      <a:pt x="6" y="77"/>
                    </a:lnTo>
                    <a:lnTo>
                      <a:pt x="6" y="76"/>
                    </a:lnTo>
                    <a:lnTo>
                      <a:pt x="5" y="75"/>
                    </a:lnTo>
                    <a:lnTo>
                      <a:pt x="5" y="74"/>
                    </a:lnTo>
                    <a:lnTo>
                      <a:pt x="5" y="74"/>
                    </a:lnTo>
                    <a:lnTo>
                      <a:pt x="4" y="73"/>
                    </a:lnTo>
                    <a:lnTo>
                      <a:pt x="4" y="72"/>
                    </a:lnTo>
                    <a:lnTo>
                      <a:pt x="4" y="71"/>
                    </a:lnTo>
                    <a:lnTo>
                      <a:pt x="3" y="71"/>
                    </a:lnTo>
                    <a:lnTo>
                      <a:pt x="2" y="70"/>
                    </a:lnTo>
                    <a:lnTo>
                      <a:pt x="1" y="69"/>
                    </a:lnTo>
                    <a:lnTo>
                      <a:pt x="1" y="69"/>
                    </a:lnTo>
                    <a:lnTo>
                      <a:pt x="0" y="68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5"/>
                    </a:lnTo>
                    <a:lnTo>
                      <a:pt x="0" y="65"/>
                    </a:lnTo>
                    <a:lnTo>
                      <a:pt x="1" y="65"/>
                    </a:lnTo>
                    <a:lnTo>
                      <a:pt x="1" y="64"/>
                    </a:lnTo>
                    <a:lnTo>
                      <a:pt x="2" y="64"/>
                    </a:lnTo>
                    <a:lnTo>
                      <a:pt x="2" y="63"/>
                    </a:lnTo>
                    <a:lnTo>
                      <a:pt x="3" y="63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1"/>
                    </a:lnTo>
                    <a:lnTo>
                      <a:pt x="5" y="61"/>
                    </a:lnTo>
                    <a:lnTo>
                      <a:pt x="5" y="59"/>
                    </a:lnTo>
                    <a:lnTo>
                      <a:pt x="6" y="58"/>
                    </a:lnTo>
                    <a:lnTo>
                      <a:pt x="7" y="56"/>
                    </a:lnTo>
                    <a:lnTo>
                      <a:pt x="7" y="55"/>
                    </a:lnTo>
                    <a:lnTo>
                      <a:pt x="8" y="55"/>
                    </a:lnTo>
                    <a:lnTo>
                      <a:pt x="8" y="54"/>
                    </a:lnTo>
                    <a:lnTo>
                      <a:pt x="9" y="54"/>
                    </a:lnTo>
                    <a:lnTo>
                      <a:pt x="9" y="53"/>
                    </a:lnTo>
                    <a:lnTo>
                      <a:pt x="10" y="52"/>
                    </a:lnTo>
                    <a:lnTo>
                      <a:pt x="11" y="52"/>
                    </a:lnTo>
                  </a:path>
                </a:pathLst>
              </a:custGeom>
              <a:solidFill>
                <a:srgbClr val="D9D9D9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79" name="Freeform 7"/>
              <p:cNvSpPr>
                <a:spLocks/>
              </p:cNvSpPr>
              <p:nvPr/>
            </p:nvSpPr>
            <p:spPr bwMode="auto">
              <a:xfrm>
                <a:off x="1719213" y="2604558"/>
                <a:ext cx="2146266" cy="1959873"/>
              </a:xfrm>
              <a:custGeom>
                <a:avLst/>
                <a:gdLst/>
                <a:ahLst/>
                <a:cxnLst>
                  <a:cxn ang="0">
                    <a:pos x="29" y="12"/>
                  </a:cxn>
                  <a:cxn ang="0">
                    <a:pos x="28" y="0"/>
                  </a:cxn>
                  <a:cxn ang="0">
                    <a:pos x="38" y="4"/>
                  </a:cxn>
                  <a:cxn ang="0">
                    <a:pos x="48" y="16"/>
                  </a:cxn>
                  <a:cxn ang="0">
                    <a:pos x="58" y="12"/>
                  </a:cxn>
                  <a:cxn ang="0">
                    <a:pos x="65" y="7"/>
                  </a:cxn>
                  <a:cxn ang="0">
                    <a:pos x="71" y="3"/>
                  </a:cxn>
                  <a:cxn ang="0">
                    <a:pos x="75" y="5"/>
                  </a:cxn>
                  <a:cxn ang="0">
                    <a:pos x="81" y="7"/>
                  </a:cxn>
                  <a:cxn ang="0">
                    <a:pos x="87" y="11"/>
                  </a:cxn>
                  <a:cxn ang="0">
                    <a:pos x="98" y="6"/>
                  </a:cxn>
                  <a:cxn ang="0">
                    <a:pos x="109" y="18"/>
                  </a:cxn>
                  <a:cxn ang="0">
                    <a:pos x="119" y="23"/>
                  </a:cxn>
                  <a:cxn ang="0">
                    <a:pos x="130" y="27"/>
                  </a:cxn>
                  <a:cxn ang="0">
                    <a:pos x="134" y="19"/>
                  </a:cxn>
                  <a:cxn ang="0">
                    <a:pos x="138" y="22"/>
                  </a:cxn>
                  <a:cxn ang="0">
                    <a:pos x="153" y="23"/>
                  </a:cxn>
                  <a:cxn ang="0">
                    <a:pos x="165" y="16"/>
                  </a:cxn>
                  <a:cxn ang="0">
                    <a:pos x="173" y="3"/>
                  </a:cxn>
                  <a:cxn ang="0">
                    <a:pos x="187" y="25"/>
                  </a:cxn>
                  <a:cxn ang="0">
                    <a:pos x="194" y="49"/>
                  </a:cxn>
                  <a:cxn ang="0">
                    <a:pos x="189" y="60"/>
                  </a:cxn>
                  <a:cxn ang="0">
                    <a:pos x="183" y="65"/>
                  </a:cxn>
                  <a:cxn ang="0">
                    <a:pos x="181" y="75"/>
                  </a:cxn>
                  <a:cxn ang="0">
                    <a:pos x="186" y="79"/>
                  </a:cxn>
                  <a:cxn ang="0">
                    <a:pos x="192" y="80"/>
                  </a:cxn>
                  <a:cxn ang="0">
                    <a:pos x="198" y="89"/>
                  </a:cxn>
                  <a:cxn ang="0">
                    <a:pos x="210" y="100"/>
                  </a:cxn>
                  <a:cxn ang="0">
                    <a:pos x="213" y="105"/>
                  </a:cxn>
                  <a:cxn ang="0">
                    <a:pos x="215" y="113"/>
                  </a:cxn>
                  <a:cxn ang="0">
                    <a:pos x="213" y="123"/>
                  </a:cxn>
                  <a:cxn ang="0">
                    <a:pos x="196" y="134"/>
                  </a:cxn>
                  <a:cxn ang="0">
                    <a:pos x="188" y="141"/>
                  </a:cxn>
                  <a:cxn ang="0">
                    <a:pos x="179" y="135"/>
                  </a:cxn>
                  <a:cxn ang="0">
                    <a:pos x="167" y="120"/>
                  </a:cxn>
                  <a:cxn ang="0">
                    <a:pos x="155" y="117"/>
                  </a:cxn>
                  <a:cxn ang="0">
                    <a:pos x="146" y="131"/>
                  </a:cxn>
                  <a:cxn ang="0">
                    <a:pos x="139" y="136"/>
                  </a:cxn>
                  <a:cxn ang="0">
                    <a:pos x="132" y="137"/>
                  </a:cxn>
                  <a:cxn ang="0">
                    <a:pos x="116" y="151"/>
                  </a:cxn>
                  <a:cxn ang="0">
                    <a:pos x="105" y="163"/>
                  </a:cxn>
                  <a:cxn ang="0">
                    <a:pos x="94" y="170"/>
                  </a:cxn>
                  <a:cxn ang="0">
                    <a:pos x="89" y="176"/>
                  </a:cxn>
                  <a:cxn ang="0">
                    <a:pos x="63" y="180"/>
                  </a:cxn>
                  <a:cxn ang="0">
                    <a:pos x="43" y="178"/>
                  </a:cxn>
                  <a:cxn ang="0">
                    <a:pos x="43" y="158"/>
                  </a:cxn>
                  <a:cxn ang="0">
                    <a:pos x="45" y="147"/>
                  </a:cxn>
                  <a:cxn ang="0">
                    <a:pos x="36" y="135"/>
                  </a:cxn>
                  <a:cxn ang="0">
                    <a:pos x="23" y="123"/>
                  </a:cxn>
                  <a:cxn ang="0">
                    <a:pos x="24" y="104"/>
                  </a:cxn>
                  <a:cxn ang="0">
                    <a:pos x="29" y="97"/>
                  </a:cxn>
                  <a:cxn ang="0">
                    <a:pos x="25" y="91"/>
                  </a:cxn>
                  <a:cxn ang="0">
                    <a:pos x="25" y="79"/>
                  </a:cxn>
                  <a:cxn ang="0">
                    <a:pos x="26" y="67"/>
                  </a:cxn>
                  <a:cxn ang="0">
                    <a:pos x="16" y="65"/>
                  </a:cxn>
                  <a:cxn ang="0">
                    <a:pos x="10" y="60"/>
                  </a:cxn>
                  <a:cxn ang="0">
                    <a:pos x="2" y="52"/>
                  </a:cxn>
                  <a:cxn ang="0">
                    <a:pos x="1" y="46"/>
                  </a:cxn>
                  <a:cxn ang="0">
                    <a:pos x="10" y="38"/>
                  </a:cxn>
                  <a:cxn ang="0">
                    <a:pos x="25" y="27"/>
                  </a:cxn>
                  <a:cxn ang="0">
                    <a:pos x="24" y="18"/>
                  </a:cxn>
                </a:cxnLst>
                <a:rect l="0" t="0" r="r" b="b"/>
                <a:pathLst>
                  <a:path w="216" h="183">
                    <a:moveTo>
                      <a:pt x="25" y="16"/>
                    </a:moveTo>
                    <a:lnTo>
                      <a:pt x="26" y="16"/>
                    </a:lnTo>
                    <a:lnTo>
                      <a:pt x="26" y="16"/>
                    </a:lnTo>
                    <a:lnTo>
                      <a:pt x="27" y="16"/>
                    </a:lnTo>
                    <a:lnTo>
                      <a:pt x="27" y="16"/>
                    </a:lnTo>
                    <a:lnTo>
                      <a:pt x="27" y="15"/>
                    </a:lnTo>
                    <a:lnTo>
                      <a:pt x="28" y="15"/>
                    </a:lnTo>
                    <a:lnTo>
                      <a:pt x="29" y="14"/>
                    </a:lnTo>
                    <a:lnTo>
                      <a:pt x="29" y="13"/>
                    </a:lnTo>
                    <a:lnTo>
                      <a:pt x="29" y="12"/>
                    </a:lnTo>
                    <a:lnTo>
                      <a:pt x="30" y="11"/>
                    </a:lnTo>
                    <a:lnTo>
                      <a:pt x="30" y="10"/>
                    </a:lnTo>
                    <a:lnTo>
                      <a:pt x="30" y="8"/>
                    </a:lnTo>
                    <a:lnTo>
                      <a:pt x="30" y="7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29" y="3"/>
                    </a:lnTo>
                    <a:lnTo>
                      <a:pt x="29" y="2"/>
                    </a:lnTo>
                    <a:lnTo>
                      <a:pt x="29" y="1"/>
                    </a:lnTo>
                    <a:lnTo>
                      <a:pt x="28" y="0"/>
                    </a:lnTo>
                    <a:lnTo>
                      <a:pt x="29" y="0"/>
                    </a:lnTo>
                    <a:lnTo>
                      <a:pt x="30" y="0"/>
                    </a:lnTo>
                    <a:lnTo>
                      <a:pt x="31" y="0"/>
                    </a:lnTo>
                    <a:lnTo>
                      <a:pt x="32" y="0"/>
                    </a:lnTo>
                    <a:lnTo>
                      <a:pt x="33" y="1"/>
                    </a:lnTo>
                    <a:lnTo>
                      <a:pt x="34" y="1"/>
                    </a:lnTo>
                    <a:lnTo>
                      <a:pt x="34" y="2"/>
                    </a:lnTo>
                    <a:lnTo>
                      <a:pt x="35" y="2"/>
                    </a:lnTo>
                    <a:lnTo>
                      <a:pt x="36" y="3"/>
                    </a:lnTo>
                    <a:lnTo>
                      <a:pt x="38" y="4"/>
                    </a:lnTo>
                    <a:lnTo>
                      <a:pt x="39" y="5"/>
                    </a:lnTo>
                    <a:lnTo>
                      <a:pt x="39" y="7"/>
                    </a:lnTo>
                    <a:lnTo>
                      <a:pt x="41" y="9"/>
                    </a:lnTo>
                    <a:lnTo>
                      <a:pt x="42" y="11"/>
                    </a:lnTo>
                    <a:lnTo>
                      <a:pt x="43" y="12"/>
                    </a:lnTo>
                    <a:lnTo>
                      <a:pt x="44" y="14"/>
                    </a:lnTo>
                    <a:lnTo>
                      <a:pt x="46" y="15"/>
                    </a:lnTo>
                    <a:lnTo>
                      <a:pt x="46" y="15"/>
                    </a:lnTo>
                    <a:lnTo>
                      <a:pt x="47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0" y="16"/>
                    </a:lnTo>
                    <a:lnTo>
                      <a:pt x="52" y="15"/>
                    </a:lnTo>
                    <a:lnTo>
                      <a:pt x="54" y="14"/>
                    </a:lnTo>
                    <a:lnTo>
                      <a:pt x="55" y="14"/>
                    </a:lnTo>
                    <a:lnTo>
                      <a:pt x="56" y="14"/>
                    </a:lnTo>
                    <a:lnTo>
                      <a:pt x="56" y="13"/>
                    </a:lnTo>
                    <a:lnTo>
                      <a:pt x="57" y="13"/>
                    </a:lnTo>
                    <a:lnTo>
                      <a:pt x="58" y="12"/>
                    </a:lnTo>
                    <a:lnTo>
                      <a:pt x="58" y="12"/>
                    </a:lnTo>
                    <a:lnTo>
                      <a:pt x="59" y="11"/>
                    </a:lnTo>
                    <a:lnTo>
                      <a:pt x="59" y="10"/>
                    </a:lnTo>
                    <a:lnTo>
                      <a:pt x="60" y="9"/>
                    </a:lnTo>
                    <a:lnTo>
                      <a:pt x="60" y="8"/>
                    </a:lnTo>
                    <a:lnTo>
                      <a:pt x="61" y="8"/>
                    </a:lnTo>
                    <a:lnTo>
                      <a:pt x="62" y="8"/>
                    </a:lnTo>
                    <a:lnTo>
                      <a:pt x="63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5" y="7"/>
                    </a:lnTo>
                    <a:lnTo>
                      <a:pt x="65" y="7"/>
                    </a:lnTo>
                    <a:lnTo>
                      <a:pt x="66" y="6"/>
                    </a:lnTo>
                    <a:lnTo>
                      <a:pt x="67" y="5"/>
                    </a:lnTo>
                    <a:lnTo>
                      <a:pt x="67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3"/>
                    </a:lnTo>
                    <a:lnTo>
                      <a:pt x="70" y="3"/>
                    </a:lnTo>
                    <a:lnTo>
                      <a:pt x="70" y="3"/>
                    </a:lnTo>
                    <a:lnTo>
                      <a:pt x="71" y="3"/>
                    </a:lnTo>
                    <a:lnTo>
                      <a:pt x="71" y="3"/>
                    </a:lnTo>
                    <a:lnTo>
                      <a:pt x="72" y="3"/>
                    </a:lnTo>
                    <a:lnTo>
                      <a:pt x="72" y="3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3" y="4"/>
                    </a:lnTo>
                    <a:lnTo>
                      <a:pt x="73" y="5"/>
                    </a:lnTo>
                    <a:lnTo>
                      <a:pt x="74" y="5"/>
                    </a:lnTo>
                    <a:lnTo>
                      <a:pt x="75" y="5"/>
                    </a:lnTo>
                    <a:lnTo>
                      <a:pt x="76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8" y="5"/>
                    </a:lnTo>
                    <a:lnTo>
                      <a:pt x="78" y="5"/>
                    </a:lnTo>
                    <a:lnTo>
                      <a:pt x="79" y="5"/>
                    </a:lnTo>
                    <a:lnTo>
                      <a:pt x="79" y="6"/>
                    </a:lnTo>
                    <a:lnTo>
                      <a:pt x="80" y="6"/>
                    </a:lnTo>
                    <a:lnTo>
                      <a:pt x="80" y="6"/>
                    </a:lnTo>
                    <a:lnTo>
                      <a:pt x="81" y="7"/>
                    </a:lnTo>
                    <a:lnTo>
                      <a:pt x="81" y="8"/>
                    </a:lnTo>
                    <a:lnTo>
                      <a:pt x="81" y="9"/>
                    </a:lnTo>
                    <a:lnTo>
                      <a:pt x="82" y="9"/>
                    </a:lnTo>
                    <a:lnTo>
                      <a:pt x="82" y="10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6" y="11"/>
                    </a:lnTo>
                    <a:lnTo>
                      <a:pt x="87" y="11"/>
                    </a:lnTo>
                    <a:lnTo>
                      <a:pt x="88" y="10"/>
                    </a:lnTo>
                    <a:lnTo>
                      <a:pt x="89" y="9"/>
                    </a:lnTo>
                    <a:lnTo>
                      <a:pt x="91" y="8"/>
                    </a:lnTo>
                    <a:lnTo>
                      <a:pt x="92" y="8"/>
                    </a:lnTo>
                    <a:lnTo>
                      <a:pt x="92" y="7"/>
                    </a:lnTo>
                    <a:lnTo>
                      <a:pt x="93" y="7"/>
                    </a:lnTo>
                    <a:lnTo>
                      <a:pt x="95" y="6"/>
                    </a:lnTo>
                    <a:lnTo>
                      <a:pt x="96" y="6"/>
                    </a:lnTo>
                    <a:lnTo>
                      <a:pt x="97" y="6"/>
                    </a:lnTo>
                    <a:lnTo>
                      <a:pt x="98" y="6"/>
                    </a:lnTo>
                    <a:lnTo>
                      <a:pt x="100" y="6"/>
                    </a:lnTo>
                    <a:lnTo>
                      <a:pt x="101" y="6"/>
                    </a:lnTo>
                    <a:lnTo>
                      <a:pt x="102" y="6"/>
                    </a:lnTo>
                    <a:lnTo>
                      <a:pt x="103" y="6"/>
                    </a:lnTo>
                    <a:lnTo>
                      <a:pt x="104" y="8"/>
                    </a:lnTo>
                    <a:lnTo>
                      <a:pt x="105" y="11"/>
                    </a:lnTo>
                    <a:lnTo>
                      <a:pt x="106" y="13"/>
                    </a:lnTo>
                    <a:lnTo>
                      <a:pt x="108" y="15"/>
                    </a:lnTo>
                    <a:lnTo>
                      <a:pt x="109" y="17"/>
                    </a:lnTo>
                    <a:lnTo>
                      <a:pt x="109" y="18"/>
                    </a:lnTo>
                    <a:lnTo>
                      <a:pt x="110" y="19"/>
                    </a:lnTo>
                    <a:lnTo>
                      <a:pt x="111" y="20"/>
                    </a:lnTo>
                    <a:lnTo>
                      <a:pt x="112" y="21"/>
                    </a:lnTo>
                    <a:lnTo>
                      <a:pt x="112" y="22"/>
                    </a:lnTo>
                    <a:lnTo>
                      <a:pt x="113" y="23"/>
                    </a:lnTo>
                    <a:lnTo>
                      <a:pt x="115" y="23"/>
                    </a:lnTo>
                    <a:lnTo>
                      <a:pt x="116" y="23"/>
                    </a:lnTo>
                    <a:lnTo>
                      <a:pt x="117" y="23"/>
                    </a:lnTo>
                    <a:lnTo>
                      <a:pt x="118" y="23"/>
                    </a:lnTo>
                    <a:lnTo>
                      <a:pt x="119" y="23"/>
                    </a:lnTo>
                    <a:lnTo>
                      <a:pt x="120" y="23"/>
                    </a:lnTo>
                    <a:lnTo>
                      <a:pt x="121" y="24"/>
                    </a:lnTo>
                    <a:lnTo>
                      <a:pt x="122" y="24"/>
                    </a:lnTo>
                    <a:lnTo>
                      <a:pt x="123" y="24"/>
                    </a:lnTo>
                    <a:lnTo>
                      <a:pt x="124" y="25"/>
                    </a:lnTo>
                    <a:lnTo>
                      <a:pt x="125" y="26"/>
                    </a:lnTo>
                    <a:lnTo>
                      <a:pt x="127" y="27"/>
                    </a:lnTo>
                    <a:lnTo>
                      <a:pt x="128" y="28"/>
                    </a:lnTo>
                    <a:lnTo>
                      <a:pt x="129" y="28"/>
                    </a:lnTo>
                    <a:lnTo>
                      <a:pt x="130" y="27"/>
                    </a:lnTo>
                    <a:lnTo>
                      <a:pt x="130" y="27"/>
                    </a:lnTo>
                    <a:lnTo>
                      <a:pt x="131" y="27"/>
                    </a:lnTo>
                    <a:lnTo>
                      <a:pt x="131" y="26"/>
                    </a:lnTo>
                    <a:lnTo>
                      <a:pt x="132" y="25"/>
                    </a:lnTo>
                    <a:lnTo>
                      <a:pt x="132" y="25"/>
                    </a:lnTo>
                    <a:lnTo>
                      <a:pt x="133" y="24"/>
                    </a:lnTo>
                    <a:lnTo>
                      <a:pt x="133" y="23"/>
                    </a:lnTo>
                    <a:lnTo>
                      <a:pt x="134" y="21"/>
                    </a:lnTo>
                    <a:lnTo>
                      <a:pt x="134" y="19"/>
                    </a:lnTo>
                    <a:lnTo>
                      <a:pt x="134" y="19"/>
                    </a:lnTo>
                    <a:lnTo>
                      <a:pt x="135" y="18"/>
                    </a:lnTo>
                    <a:lnTo>
                      <a:pt x="135" y="18"/>
                    </a:lnTo>
                    <a:lnTo>
                      <a:pt x="136" y="18"/>
                    </a:lnTo>
                    <a:lnTo>
                      <a:pt x="136" y="18"/>
                    </a:lnTo>
                    <a:lnTo>
                      <a:pt x="137" y="19"/>
                    </a:lnTo>
                    <a:lnTo>
                      <a:pt x="137" y="19"/>
                    </a:lnTo>
                    <a:lnTo>
                      <a:pt x="137" y="19"/>
                    </a:lnTo>
                    <a:lnTo>
                      <a:pt x="137" y="20"/>
                    </a:lnTo>
                    <a:lnTo>
                      <a:pt x="138" y="21"/>
                    </a:lnTo>
                    <a:lnTo>
                      <a:pt x="138" y="22"/>
                    </a:lnTo>
                    <a:lnTo>
                      <a:pt x="138" y="22"/>
                    </a:lnTo>
                    <a:lnTo>
                      <a:pt x="138" y="23"/>
                    </a:lnTo>
                    <a:lnTo>
                      <a:pt x="139" y="23"/>
                    </a:lnTo>
                    <a:lnTo>
                      <a:pt x="139" y="23"/>
                    </a:lnTo>
                    <a:lnTo>
                      <a:pt x="140" y="23"/>
                    </a:lnTo>
                    <a:lnTo>
                      <a:pt x="144" y="23"/>
                    </a:lnTo>
                    <a:lnTo>
                      <a:pt x="147" y="23"/>
                    </a:lnTo>
                    <a:lnTo>
                      <a:pt x="149" y="23"/>
                    </a:lnTo>
                    <a:lnTo>
                      <a:pt x="151" y="23"/>
                    </a:lnTo>
                    <a:lnTo>
                      <a:pt x="153" y="23"/>
                    </a:lnTo>
                    <a:lnTo>
                      <a:pt x="155" y="23"/>
                    </a:lnTo>
                    <a:lnTo>
                      <a:pt x="156" y="23"/>
                    </a:lnTo>
                    <a:lnTo>
                      <a:pt x="158" y="22"/>
                    </a:lnTo>
                    <a:lnTo>
                      <a:pt x="159" y="22"/>
                    </a:lnTo>
                    <a:lnTo>
                      <a:pt x="160" y="21"/>
                    </a:lnTo>
                    <a:lnTo>
                      <a:pt x="162" y="20"/>
                    </a:lnTo>
                    <a:lnTo>
                      <a:pt x="163" y="20"/>
                    </a:lnTo>
                    <a:lnTo>
                      <a:pt x="164" y="19"/>
                    </a:lnTo>
                    <a:lnTo>
                      <a:pt x="165" y="18"/>
                    </a:lnTo>
                    <a:lnTo>
                      <a:pt x="165" y="16"/>
                    </a:lnTo>
                    <a:lnTo>
                      <a:pt x="165" y="14"/>
                    </a:lnTo>
                    <a:lnTo>
                      <a:pt x="166" y="12"/>
                    </a:lnTo>
                    <a:lnTo>
                      <a:pt x="166" y="10"/>
                    </a:lnTo>
                    <a:lnTo>
                      <a:pt x="166" y="8"/>
                    </a:lnTo>
                    <a:lnTo>
                      <a:pt x="167" y="6"/>
                    </a:lnTo>
                    <a:lnTo>
                      <a:pt x="167" y="5"/>
                    </a:lnTo>
                    <a:lnTo>
                      <a:pt x="168" y="3"/>
                    </a:lnTo>
                    <a:lnTo>
                      <a:pt x="170" y="3"/>
                    </a:lnTo>
                    <a:lnTo>
                      <a:pt x="171" y="3"/>
                    </a:lnTo>
                    <a:lnTo>
                      <a:pt x="173" y="3"/>
                    </a:lnTo>
                    <a:lnTo>
                      <a:pt x="175" y="3"/>
                    </a:lnTo>
                    <a:lnTo>
                      <a:pt x="178" y="7"/>
                    </a:lnTo>
                    <a:lnTo>
                      <a:pt x="181" y="10"/>
                    </a:lnTo>
                    <a:lnTo>
                      <a:pt x="182" y="12"/>
                    </a:lnTo>
                    <a:lnTo>
                      <a:pt x="184" y="14"/>
                    </a:lnTo>
                    <a:lnTo>
                      <a:pt x="185" y="16"/>
                    </a:lnTo>
                    <a:lnTo>
                      <a:pt x="187" y="18"/>
                    </a:lnTo>
                    <a:lnTo>
                      <a:pt x="187" y="20"/>
                    </a:lnTo>
                    <a:lnTo>
                      <a:pt x="187" y="23"/>
                    </a:lnTo>
                    <a:lnTo>
                      <a:pt x="187" y="25"/>
                    </a:lnTo>
                    <a:lnTo>
                      <a:pt x="188" y="27"/>
                    </a:lnTo>
                    <a:lnTo>
                      <a:pt x="188" y="29"/>
                    </a:lnTo>
                    <a:lnTo>
                      <a:pt x="189" y="31"/>
                    </a:lnTo>
                    <a:lnTo>
                      <a:pt x="190" y="35"/>
                    </a:lnTo>
                    <a:lnTo>
                      <a:pt x="192" y="39"/>
                    </a:lnTo>
                    <a:lnTo>
                      <a:pt x="192" y="41"/>
                    </a:lnTo>
                    <a:lnTo>
                      <a:pt x="193" y="43"/>
                    </a:lnTo>
                    <a:lnTo>
                      <a:pt x="193" y="45"/>
                    </a:lnTo>
                    <a:lnTo>
                      <a:pt x="194" y="47"/>
                    </a:lnTo>
                    <a:lnTo>
                      <a:pt x="194" y="49"/>
                    </a:lnTo>
                    <a:lnTo>
                      <a:pt x="195" y="51"/>
                    </a:lnTo>
                    <a:lnTo>
                      <a:pt x="194" y="52"/>
                    </a:lnTo>
                    <a:lnTo>
                      <a:pt x="193" y="53"/>
                    </a:lnTo>
                    <a:lnTo>
                      <a:pt x="192" y="53"/>
                    </a:lnTo>
                    <a:lnTo>
                      <a:pt x="192" y="54"/>
                    </a:lnTo>
                    <a:lnTo>
                      <a:pt x="191" y="55"/>
                    </a:lnTo>
                    <a:lnTo>
                      <a:pt x="191" y="56"/>
                    </a:lnTo>
                    <a:lnTo>
                      <a:pt x="190" y="58"/>
                    </a:lnTo>
                    <a:lnTo>
                      <a:pt x="189" y="59"/>
                    </a:lnTo>
                    <a:lnTo>
                      <a:pt x="189" y="60"/>
                    </a:lnTo>
                    <a:lnTo>
                      <a:pt x="188" y="61"/>
                    </a:lnTo>
                    <a:lnTo>
                      <a:pt x="187" y="61"/>
                    </a:lnTo>
                    <a:lnTo>
                      <a:pt x="186" y="62"/>
                    </a:lnTo>
                    <a:lnTo>
                      <a:pt x="185" y="62"/>
                    </a:lnTo>
                    <a:lnTo>
                      <a:pt x="185" y="63"/>
                    </a:lnTo>
                    <a:lnTo>
                      <a:pt x="184" y="63"/>
                    </a:lnTo>
                    <a:lnTo>
                      <a:pt x="184" y="63"/>
                    </a:lnTo>
                    <a:lnTo>
                      <a:pt x="183" y="63"/>
                    </a:lnTo>
                    <a:lnTo>
                      <a:pt x="183" y="64"/>
                    </a:lnTo>
                    <a:lnTo>
                      <a:pt x="183" y="65"/>
                    </a:lnTo>
                    <a:lnTo>
                      <a:pt x="183" y="66"/>
                    </a:lnTo>
                    <a:lnTo>
                      <a:pt x="183" y="66"/>
                    </a:lnTo>
                    <a:lnTo>
                      <a:pt x="182" y="68"/>
                    </a:lnTo>
                    <a:lnTo>
                      <a:pt x="182" y="69"/>
                    </a:lnTo>
                    <a:lnTo>
                      <a:pt x="182" y="71"/>
                    </a:lnTo>
                    <a:lnTo>
                      <a:pt x="181" y="72"/>
                    </a:lnTo>
                    <a:lnTo>
                      <a:pt x="181" y="72"/>
                    </a:lnTo>
                    <a:lnTo>
                      <a:pt x="181" y="73"/>
                    </a:lnTo>
                    <a:lnTo>
                      <a:pt x="181" y="74"/>
                    </a:lnTo>
                    <a:lnTo>
                      <a:pt x="181" y="75"/>
                    </a:lnTo>
                    <a:lnTo>
                      <a:pt x="181" y="76"/>
                    </a:lnTo>
                    <a:lnTo>
                      <a:pt x="182" y="77"/>
                    </a:lnTo>
                    <a:lnTo>
                      <a:pt x="183" y="77"/>
                    </a:lnTo>
                    <a:lnTo>
                      <a:pt x="183" y="78"/>
                    </a:lnTo>
                    <a:lnTo>
                      <a:pt x="184" y="78"/>
                    </a:lnTo>
                    <a:lnTo>
                      <a:pt x="184" y="78"/>
                    </a:lnTo>
                    <a:lnTo>
                      <a:pt x="185" y="78"/>
                    </a:lnTo>
                    <a:lnTo>
                      <a:pt x="185" y="79"/>
                    </a:lnTo>
                    <a:lnTo>
                      <a:pt x="185" y="79"/>
                    </a:lnTo>
                    <a:lnTo>
                      <a:pt x="186" y="79"/>
                    </a:lnTo>
                    <a:lnTo>
                      <a:pt x="187" y="79"/>
                    </a:lnTo>
                    <a:lnTo>
                      <a:pt x="187" y="79"/>
                    </a:lnTo>
                    <a:lnTo>
                      <a:pt x="188" y="78"/>
                    </a:lnTo>
                    <a:lnTo>
                      <a:pt x="188" y="78"/>
                    </a:lnTo>
                    <a:lnTo>
                      <a:pt x="189" y="78"/>
                    </a:lnTo>
                    <a:lnTo>
                      <a:pt x="190" y="78"/>
                    </a:lnTo>
                    <a:lnTo>
                      <a:pt x="191" y="78"/>
                    </a:lnTo>
                    <a:lnTo>
                      <a:pt x="191" y="78"/>
                    </a:lnTo>
                    <a:lnTo>
                      <a:pt x="192" y="79"/>
                    </a:lnTo>
                    <a:lnTo>
                      <a:pt x="192" y="80"/>
                    </a:lnTo>
                    <a:lnTo>
                      <a:pt x="192" y="81"/>
                    </a:lnTo>
                    <a:lnTo>
                      <a:pt x="192" y="82"/>
                    </a:lnTo>
                    <a:lnTo>
                      <a:pt x="192" y="83"/>
                    </a:lnTo>
                    <a:lnTo>
                      <a:pt x="193" y="84"/>
                    </a:lnTo>
                    <a:lnTo>
                      <a:pt x="193" y="84"/>
                    </a:lnTo>
                    <a:lnTo>
                      <a:pt x="194" y="85"/>
                    </a:lnTo>
                    <a:lnTo>
                      <a:pt x="195" y="86"/>
                    </a:lnTo>
                    <a:lnTo>
                      <a:pt x="196" y="87"/>
                    </a:lnTo>
                    <a:lnTo>
                      <a:pt x="197" y="88"/>
                    </a:lnTo>
                    <a:lnTo>
                      <a:pt x="198" y="89"/>
                    </a:lnTo>
                    <a:lnTo>
                      <a:pt x="200" y="90"/>
                    </a:lnTo>
                    <a:lnTo>
                      <a:pt x="201" y="91"/>
                    </a:lnTo>
                    <a:lnTo>
                      <a:pt x="204" y="92"/>
                    </a:lnTo>
                    <a:lnTo>
                      <a:pt x="206" y="93"/>
                    </a:lnTo>
                    <a:lnTo>
                      <a:pt x="207" y="94"/>
                    </a:lnTo>
                    <a:lnTo>
                      <a:pt x="209" y="95"/>
                    </a:lnTo>
                    <a:lnTo>
                      <a:pt x="210" y="96"/>
                    </a:lnTo>
                    <a:lnTo>
                      <a:pt x="210" y="98"/>
                    </a:lnTo>
                    <a:lnTo>
                      <a:pt x="210" y="99"/>
                    </a:lnTo>
                    <a:lnTo>
                      <a:pt x="210" y="100"/>
                    </a:lnTo>
                    <a:lnTo>
                      <a:pt x="210" y="101"/>
                    </a:lnTo>
                    <a:lnTo>
                      <a:pt x="210" y="102"/>
                    </a:lnTo>
                    <a:lnTo>
                      <a:pt x="211" y="103"/>
                    </a:lnTo>
                    <a:lnTo>
                      <a:pt x="211" y="104"/>
                    </a:lnTo>
                    <a:lnTo>
                      <a:pt x="211" y="105"/>
                    </a:lnTo>
                    <a:lnTo>
                      <a:pt x="212" y="105"/>
                    </a:lnTo>
                    <a:lnTo>
                      <a:pt x="212" y="105"/>
                    </a:lnTo>
                    <a:lnTo>
                      <a:pt x="213" y="105"/>
                    </a:lnTo>
                    <a:lnTo>
                      <a:pt x="213" y="105"/>
                    </a:lnTo>
                    <a:lnTo>
                      <a:pt x="213" y="105"/>
                    </a:lnTo>
                    <a:lnTo>
                      <a:pt x="214" y="106"/>
                    </a:lnTo>
                    <a:lnTo>
                      <a:pt x="214" y="106"/>
                    </a:lnTo>
                    <a:lnTo>
                      <a:pt x="214" y="107"/>
                    </a:lnTo>
                    <a:lnTo>
                      <a:pt x="214" y="107"/>
                    </a:lnTo>
                    <a:lnTo>
                      <a:pt x="214" y="108"/>
                    </a:lnTo>
                    <a:lnTo>
                      <a:pt x="215" y="110"/>
                    </a:lnTo>
                    <a:lnTo>
                      <a:pt x="215" y="111"/>
                    </a:lnTo>
                    <a:lnTo>
                      <a:pt x="215" y="112"/>
                    </a:lnTo>
                    <a:lnTo>
                      <a:pt x="215" y="112"/>
                    </a:lnTo>
                    <a:lnTo>
                      <a:pt x="215" y="113"/>
                    </a:lnTo>
                    <a:lnTo>
                      <a:pt x="216" y="114"/>
                    </a:lnTo>
                    <a:lnTo>
                      <a:pt x="216" y="114"/>
                    </a:lnTo>
                    <a:lnTo>
                      <a:pt x="216" y="115"/>
                    </a:lnTo>
                    <a:lnTo>
                      <a:pt x="216" y="116"/>
                    </a:lnTo>
                    <a:lnTo>
                      <a:pt x="216" y="117"/>
                    </a:lnTo>
                    <a:lnTo>
                      <a:pt x="215" y="118"/>
                    </a:lnTo>
                    <a:lnTo>
                      <a:pt x="215" y="120"/>
                    </a:lnTo>
                    <a:lnTo>
                      <a:pt x="214" y="121"/>
                    </a:lnTo>
                    <a:lnTo>
                      <a:pt x="213" y="122"/>
                    </a:lnTo>
                    <a:lnTo>
                      <a:pt x="213" y="123"/>
                    </a:lnTo>
                    <a:lnTo>
                      <a:pt x="212" y="123"/>
                    </a:lnTo>
                    <a:lnTo>
                      <a:pt x="211" y="124"/>
                    </a:lnTo>
                    <a:lnTo>
                      <a:pt x="210" y="125"/>
                    </a:lnTo>
                    <a:lnTo>
                      <a:pt x="208" y="126"/>
                    </a:lnTo>
                    <a:lnTo>
                      <a:pt x="206" y="128"/>
                    </a:lnTo>
                    <a:lnTo>
                      <a:pt x="204" y="129"/>
                    </a:lnTo>
                    <a:lnTo>
                      <a:pt x="202" y="130"/>
                    </a:lnTo>
                    <a:lnTo>
                      <a:pt x="200" y="131"/>
                    </a:lnTo>
                    <a:lnTo>
                      <a:pt x="198" y="133"/>
                    </a:lnTo>
                    <a:lnTo>
                      <a:pt x="196" y="134"/>
                    </a:lnTo>
                    <a:lnTo>
                      <a:pt x="195" y="135"/>
                    </a:lnTo>
                    <a:lnTo>
                      <a:pt x="194" y="136"/>
                    </a:lnTo>
                    <a:lnTo>
                      <a:pt x="193" y="136"/>
                    </a:lnTo>
                    <a:lnTo>
                      <a:pt x="192" y="137"/>
                    </a:lnTo>
                    <a:lnTo>
                      <a:pt x="192" y="138"/>
                    </a:lnTo>
                    <a:lnTo>
                      <a:pt x="191" y="139"/>
                    </a:lnTo>
                    <a:lnTo>
                      <a:pt x="190" y="140"/>
                    </a:lnTo>
                    <a:lnTo>
                      <a:pt x="190" y="141"/>
                    </a:lnTo>
                    <a:lnTo>
                      <a:pt x="189" y="141"/>
                    </a:lnTo>
                    <a:lnTo>
                      <a:pt x="188" y="141"/>
                    </a:lnTo>
                    <a:lnTo>
                      <a:pt x="187" y="141"/>
                    </a:lnTo>
                    <a:lnTo>
                      <a:pt x="187" y="141"/>
                    </a:lnTo>
                    <a:lnTo>
                      <a:pt x="185" y="141"/>
                    </a:lnTo>
                    <a:lnTo>
                      <a:pt x="184" y="140"/>
                    </a:lnTo>
                    <a:lnTo>
                      <a:pt x="183" y="139"/>
                    </a:lnTo>
                    <a:lnTo>
                      <a:pt x="182" y="139"/>
                    </a:lnTo>
                    <a:lnTo>
                      <a:pt x="181" y="138"/>
                    </a:lnTo>
                    <a:lnTo>
                      <a:pt x="180" y="137"/>
                    </a:lnTo>
                    <a:lnTo>
                      <a:pt x="179" y="136"/>
                    </a:lnTo>
                    <a:lnTo>
                      <a:pt x="179" y="135"/>
                    </a:lnTo>
                    <a:lnTo>
                      <a:pt x="177" y="133"/>
                    </a:lnTo>
                    <a:lnTo>
                      <a:pt x="176" y="131"/>
                    </a:lnTo>
                    <a:lnTo>
                      <a:pt x="174" y="129"/>
                    </a:lnTo>
                    <a:lnTo>
                      <a:pt x="173" y="127"/>
                    </a:lnTo>
                    <a:lnTo>
                      <a:pt x="171" y="125"/>
                    </a:lnTo>
                    <a:lnTo>
                      <a:pt x="170" y="123"/>
                    </a:lnTo>
                    <a:lnTo>
                      <a:pt x="169" y="122"/>
                    </a:lnTo>
                    <a:lnTo>
                      <a:pt x="168" y="121"/>
                    </a:lnTo>
                    <a:lnTo>
                      <a:pt x="167" y="121"/>
                    </a:lnTo>
                    <a:lnTo>
                      <a:pt x="167" y="120"/>
                    </a:lnTo>
                    <a:lnTo>
                      <a:pt x="166" y="119"/>
                    </a:lnTo>
                    <a:lnTo>
                      <a:pt x="165" y="119"/>
                    </a:lnTo>
                    <a:lnTo>
                      <a:pt x="163" y="118"/>
                    </a:lnTo>
                    <a:lnTo>
                      <a:pt x="162" y="117"/>
                    </a:lnTo>
                    <a:lnTo>
                      <a:pt x="161" y="117"/>
                    </a:lnTo>
                    <a:lnTo>
                      <a:pt x="159" y="117"/>
                    </a:lnTo>
                    <a:lnTo>
                      <a:pt x="158" y="116"/>
                    </a:lnTo>
                    <a:lnTo>
                      <a:pt x="157" y="116"/>
                    </a:lnTo>
                    <a:lnTo>
                      <a:pt x="156" y="117"/>
                    </a:lnTo>
                    <a:lnTo>
                      <a:pt x="155" y="117"/>
                    </a:lnTo>
                    <a:lnTo>
                      <a:pt x="154" y="118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1" y="121"/>
                    </a:lnTo>
                    <a:lnTo>
                      <a:pt x="150" y="123"/>
                    </a:lnTo>
                    <a:lnTo>
                      <a:pt x="149" y="124"/>
                    </a:lnTo>
                    <a:lnTo>
                      <a:pt x="149" y="125"/>
                    </a:lnTo>
                    <a:lnTo>
                      <a:pt x="148" y="128"/>
                    </a:lnTo>
                    <a:lnTo>
                      <a:pt x="147" y="130"/>
                    </a:lnTo>
                    <a:lnTo>
                      <a:pt x="146" y="131"/>
                    </a:lnTo>
                    <a:lnTo>
                      <a:pt x="146" y="133"/>
                    </a:lnTo>
                    <a:lnTo>
                      <a:pt x="145" y="134"/>
                    </a:lnTo>
                    <a:lnTo>
                      <a:pt x="144" y="135"/>
                    </a:lnTo>
                    <a:lnTo>
                      <a:pt x="143" y="136"/>
                    </a:lnTo>
                    <a:lnTo>
                      <a:pt x="142" y="136"/>
                    </a:lnTo>
                    <a:lnTo>
                      <a:pt x="142" y="136"/>
                    </a:lnTo>
                    <a:lnTo>
                      <a:pt x="141" y="136"/>
                    </a:lnTo>
                    <a:lnTo>
                      <a:pt x="140" y="136"/>
                    </a:lnTo>
                    <a:lnTo>
                      <a:pt x="140" y="136"/>
                    </a:lnTo>
                    <a:lnTo>
                      <a:pt x="139" y="136"/>
                    </a:lnTo>
                    <a:lnTo>
                      <a:pt x="138" y="135"/>
                    </a:lnTo>
                    <a:lnTo>
                      <a:pt x="137" y="135"/>
                    </a:lnTo>
                    <a:lnTo>
                      <a:pt x="137" y="135"/>
                    </a:lnTo>
                    <a:lnTo>
                      <a:pt x="136" y="134"/>
                    </a:lnTo>
                    <a:lnTo>
                      <a:pt x="136" y="134"/>
                    </a:lnTo>
                    <a:lnTo>
                      <a:pt x="135" y="134"/>
                    </a:lnTo>
                    <a:lnTo>
                      <a:pt x="134" y="134"/>
                    </a:lnTo>
                    <a:lnTo>
                      <a:pt x="133" y="135"/>
                    </a:lnTo>
                    <a:lnTo>
                      <a:pt x="133" y="136"/>
                    </a:lnTo>
                    <a:lnTo>
                      <a:pt x="132" y="137"/>
                    </a:lnTo>
                    <a:lnTo>
                      <a:pt x="131" y="138"/>
                    </a:lnTo>
                    <a:lnTo>
                      <a:pt x="131" y="139"/>
                    </a:lnTo>
                    <a:lnTo>
                      <a:pt x="129" y="141"/>
                    </a:lnTo>
                    <a:lnTo>
                      <a:pt x="127" y="142"/>
                    </a:lnTo>
                    <a:lnTo>
                      <a:pt x="125" y="144"/>
                    </a:lnTo>
                    <a:lnTo>
                      <a:pt x="123" y="145"/>
                    </a:lnTo>
                    <a:lnTo>
                      <a:pt x="122" y="147"/>
                    </a:lnTo>
                    <a:lnTo>
                      <a:pt x="120" y="148"/>
                    </a:lnTo>
                    <a:lnTo>
                      <a:pt x="118" y="150"/>
                    </a:lnTo>
                    <a:lnTo>
                      <a:pt x="116" y="151"/>
                    </a:lnTo>
                    <a:lnTo>
                      <a:pt x="114" y="153"/>
                    </a:lnTo>
                    <a:lnTo>
                      <a:pt x="112" y="155"/>
                    </a:lnTo>
                    <a:lnTo>
                      <a:pt x="111" y="157"/>
                    </a:lnTo>
                    <a:lnTo>
                      <a:pt x="110" y="157"/>
                    </a:lnTo>
                    <a:lnTo>
                      <a:pt x="109" y="158"/>
                    </a:lnTo>
                    <a:lnTo>
                      <a:pt x="108" y="159"/>
                    </a:lnTo>
                    <a:lnTo>
                      <a:pt x="108" y="161"/>
                    </a:lnTo>
                    <a:lnTo>
                      <a:pt x="107" y="162"/>
                    </a:lnTo>
                    <a:lnTo>
                      <a:pt x="106" y="163"/>
                    </a:lnTo>
                    <a:lnTo>
                      <a:pt x="105" y="163"/>
                    </a:lnTo>
                    <a:lnTo>
                      <a:pt x="104" y="163"/>
                    </a:lnTo>
                    <a:lnTo>
                      <a:pt x="102" y="164"/>
                    </a:lnTo>
                    <a:lnTo>
                      <a:pt x="101" y="165"/>
                    </a:lnTo>
                    <a:lnTo>
                      <a:pt x="100" y="165"/>
                    </a:lnTo>
                    <a:lnTo>
                      <a:pt x="99" y="166"/>
                    </a:lnTo>
                    <a:lnTo>
                      <a:pt x="98" y="167"/>
                    </a:lnTo>
                    <a:lnTo>
                      <a:pt x="97" y="167"/>
                    </a:lnTo>
                    <a:lnTo>
                      <a:pt x="96" y="168"/>
                    </a:lnTo>
                    <a:lnTo>
                      <a:pt x="95" y="169"/>
                    </a:lnTo>
                    <a:lnTo>
                      <a:pt x="94" y="170"/>
                    </a:lnTo>
                    <a:lnTo>
                      <a:pt x="94" y="171"/>
                    </a:lnTo>
                    <a:lnTo>
                      <a:pt x="93" y="172"/>
                    </a:lnTo>
                    <a:lnTo>
                      <a:pt x="93" y="174"/>
                    </a:lnTo>
                    <a:lnTo>
                      <a:pt x="92" y="175"/>
                    </a:lnTo>
                    <a:lnTo>
                      <a:pt x="92" y="176"/>
                    </a:lnTo>
                    <a:lnTo>
                      <a:pt x="91" y="176"/>
                    </a:lnTo>
                    <a:lnTo>
                      <a:pt x="91" y="176"/>
                    </a:lnTo>
                    <a:lnTo>
                      <a:pt x="90" y="176"/>
                    </a:lnTo>
                    <a:lnTo>
                      <a:pt x="90" y="176"/>
                    </a:lnTo>
                    <a:lnTo>
                      <a:pt x="89" y="176"/>
                    </a:lnTo>
                    <a:lnTo>
                      <a:pt x="87" y="176"/>
                    </a:lnTo>
                    <a:lnTo>
                      <a:pt x="86" y="176"/>
                    </a:lnTo>
                    <a:lnTo>
                      <a:pt x="85" y="176"/>
                    </a:lnTo>
                    <a:lnTo>
                      <a:pt x="82" y="176"/>
                    </a:lnTo>
                    <a:lnTo>
                      <a:pt x="80" y="176"/>
                    </a:lnTo>
                    <a:lnTo>
                      <a:pt x="77" y="177"/>
                    </a:lnTo>
                    <a:lnTo>
                      <a:pt x="74" y="177"/>
                    </a:lnTo>
                    <a:lnTo>
                      <a:pt x="71" y="178"/>
                    </a:lnTo>
                    <a:lnTo>
                      <a:pt x="69" y="179"/>
                    </a:lnTo>
                    <a:lnTo>
                      <a:pt x="63" y="180"/>
                    </a:lnTo>
                    <a:lnTo>
                      <a:pt x="60" y="181"/>
                    </a:lnTo>
                    <a:lnTo>
                      <a:pt x="57" y="181"/>
                    </a:lnTo>
                    <a:lnTo>
                      <a:pt x="54" y="182"/>
                    </a:lnTo>
                    <a:lnTo>
                      <a:pt x="51" y="182"/>
                    </a:lnTo>
                    <a:lnTo>
                      <a:pt x="48" y="183"/>
                    </a:lnTo>
                    <a:lnTo>
                      <a:pt x="45" y="183"/>
                    </a:lnTo>
                    <a:lnTo>
                      <a:pt x="44" y="182"/>
                    </a:lnTo>
                    <a:lnTo>
                      <a:pt x="44" y="181"/>
                    </a:lnTo>
                    <a:lnTo>
                      <a:pt x="44" y="179"/>
                    </a:lnTo>
                    <a:lnTo>
                      <a:pt x="43" y="178"/>
                    </a:lnTo>
                    <a:lnTo>
                      <a:pt x="43" y="176"/>
                    </a:lnTo>
                    <a:lnTo>
                      <a:pt x="43" y="175"/>
                    </a:lnTo>
                    <a:lnTo>
                      <a:pt x="43" y="173"/>
                    </a:lnTo>
                    <a:lnTo>
                      <a:pt x="43" y="171"/>
                    </a:lnTo>
                    <a:lnTo>
                      <a:pt x="43" y="168"/>
                    </a:lnTo>
                    <a:lnTo>
                      <a:pt x="43" y="164"/>
                    </a:lnTo>
                    <a:lnTo>
                      <a:pt x="43" y="163"/>
                    </a:lnTo>
                    <a:lnTo>
                      <a:pt x="43" y="161"/>
                    </a:lnTo>
                    <a:lnTo>
                      <a:pt x="43" y="159"/>
                    </a:lnTo>
                    <a:lnTo>
                      <a:pt x="43" y="158"/>
                    </a:lnTo>
                    <a:lnTo>
                      <a:pt x="44" y="157"/>
                    </a:lnTo>
                    <a:lnTo>
                      <a:pt x="44" y="157"/>
                    </a:lnTo>
                    <a:lnTo>
                      <a:pt x="45" y="156"/>
                    </a:lnTo>
                    <a:lnTo>
                      <a:pt x="45" y="155"/>
                    </a:lnTo>
                    <a:lnTo>
                      <a:pt x="45" y="154"/>
                    </a:lnTo>
                    <a:lnTo>
                      <a:pt x="45" y="153"/>
                    </a:lnTo>
                    <a:lnTo>
                      <a:pt x="45" y="152"/>
                    </a:lnTo>
                    <a:lnTo>
                      <a:pt x="45" y="151"/>
                    </a:lnTo>
                    <a:lnTo>
                      <a:pt x="45" y="149"/>
                    </a:lnTo>
                    <a:lnTo>
                      <a:pt x="45" y="147"/>
                    </a:lnTo>
                    <a:lnTo>
                      <a:pt x="45" y="145"/>
                    </a:lnTo>
                    <a:lnTo>
                      <a:pt x="45" y="144"/>
                    </a:lnTo>
                    <a:lnTo>
                      <a:pt x="45" y="143"/>
                    </a:lnTo>
                    <a:lnTo>
                      <a:pt x="44" y="142"/>
                    </a:lnTo>
                    <a:lnTo>
                      <a:pt x="43" y="140"/>
                    </a:lnTo>
                    <a:lnTo>
                      <a:pt x="42" y="139"/>
                    </a:lnTo>
                    <a:lnTo>
                      <a:pt x="41" y="138"/>
                    </a:lnTo>
                    <a:lnTo>
                      <a:pt x="39" y="137"/>
                    </a:lnTo>
                    <a:lnTo>
                      <a:pt x="38" y="136"/>
                    </a:lnTo>
                    <a:lnTo>
                      <a:pt x="36" y="135"/>
                    </a:lnTo>
                    <a:lnTo>
                      <a:pt x="35" y="135"/>
                    </a:lnTo>
                    <a:lnTo>
                      <a:pt x="32" y="133"/>
                    </a:lnTo>
                    <a:lnTo>
                      <a:pt x="30" y="132"/>
                    </a:lnTo>
                    <a:lnTo>
                      <a:pt x="29" y="132"/>
                    </a:lnTo>
                    <a:lnTo>
                      <a:pt x="27" y="131"/>
                    </a:lnTo>
                    <a:lnTo>
                      <a:pt x="26" y="130"/>
                    </a:lnTo>
                    <a:lnTo>
                      <a:pt x="25" y="129"/>
                    </a:lnTo>
                    <a:lnTo>
                      <a:pt x="23" y="128"/>
                    </a:lnTo>
                    <a:lnTo>
                      <a:pt x="23" y="125"/>
                    </a:lnTo>
                    <a:lnTo>
                      <a:pt x="23" y="123"/>
                    </a:lnTo>
                    <a:lnTo>
                      <a:pt x="23" y="120"/>
                    </a:lnTo>
                    <a:lnTo>
                      <a:pt x="23" y="118"/>
                    </a:lnTo>
                    <a:lnTo>
                      <a:pt x="23" y="116"/>
                    </a:lnTo>
                    <a:lnTo>
                      <a:pt x="23" y="114"/>
                    </a:lnTo>
                    <a:lnTo>
                      <a:pt x="23" y="112"/>
                    </a:lnTo>
                    <a:lnTo>
                      <a:pt x="23" y="110"/>
                    </a:lnTo>
                    <a:lnTo>
                      <a:pt x="23" y="109"/>
                    </a:lnTo>
                    <a:lnTo>
                      <a:pt x="23" y="107"/>
                    </a:lnTo>
                    <a:lnTo>
                      <a:pt x="24" y="106"/>
                    </a:lnTo>
                    <a:lnTo>
                      <a:pt x="24" y="104"/>
                    </a:lnTo>
                    <a:lnTo>
                      <a:pt x="25" y="103"/>
                    </a:lnTo>
                    <a:lnTo>
                      <a:pt x="25" y="102"/>
                    </a:lnTo>
                    <a:lnTo>
                      <a:pt x="25" y="102"/>
                    </a:lnTo>
                    <a:lnTo>
                      <a:pt x="26" y="101"/>
                    </a:lnTo>
                    <a:lnTo>
                      <a:pt x="26" y="100"/>
                    </a:lnTo>
                    <a:lnTo>
                      <a:pt x="27" y="99"/>
                    </a:lnTo>
                    <a:lnTo>
                      <a:pt x="28" y="99"/>
                    </a:lnTo>
                    <a:lnTo>
                      <a:pt x="28" y="98"/>
                    </a:lnTo>
                    <a:lnTo>
                      <a:pt x="29" y="97"/>
                    </a:lnTo>
                    <a:lnTo>
                      <a:pt x="29" y="97"/>
                    </a:lnTo>
                    <a:lnTo>
                      <a:pt x="29" y="96"/>
                    </a:lnTo>
                    <a:lnTo>
                      <a:pt x="29" y="96"/>
                    </a:lnTo>
                    <a:lnTo>
                      <a:pt x="29" y="95"/>
                    </a:lnTo>
                    <a:lnTo>
                      <a:pt x="28" y="95"/>
                    </a:lnTo>
                    <a:lnTo>
                      <a:pt x="28" y="94"/>
                    </a:lnTo>
                    <a:lnTo>
                      <a:pt x="28" y="94"/>
                    </a:lnTo>
                    <a:lnTo>
                      <a:pt x="27" y="93"/>
                    </a:lnTo>
                    <a:lnTo>
                      <a:pt x="26" y="92"/>
                    </a:lnTo>
                    <a:lnTo>
                      <a:pt x="26" y="91"/>
                    </a:lnTo>
                    <a:lnTo>
                      <a:pt x="25" y="91"/>
                    </a:lnTo>
                    <a:lnTo>
                      <a:pt x="25" y="90"/>
                    </a:lnTo>
                    <a:lnTo>
                      <a:pt x="25" y="90"/>
                    </a:lnTo>
                    <a:lnTo>
                      <a:pt x="25" y="88"/>
                    </a:lnTo>
                    <a:lnTo>
                      <a:pt x="25" y="87"/>
                    </a:lnTo>
                    <a:lnTo>
                      <a:pt x="24" y="85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5" y="82"/>
                    </a:lnTo>
                    <a:lnTo>
                      <a:pt x="25" y="80"/>
                    </a:lnTo>
                    <a:lnTo>
                      <a:pt x="25" y="79"/>
                    </a:lnTo>
                    <a:lnTo>
                      <a:pt x="25" y="78"/>
                    </a:lnTo>
                    <a:lnTo>
                      <a:pt x="26" y="76"/>
                    </a:lnTo>
                    <a:lnTo>
                      <a:pt x="26" y="74"/>
                    </a:lnTo>
                    <a:lnTo>
                      <a:pt x="27" y="72"/>
                    </a:lnTo>
                    <a:lnTo>
                      <a:pt x="28" y="70"/>
                    </a:lnTo>
                    <a:lnTo>
                      <a:pt x="28" y="69"/>
                    </a:lnTo>
                    <a:lnTo>
                      <a:pt x="28" y="69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6" y="67"/>
                    </a:lnTo>
                    <a:lnTo>
                      <a:pt x="25" y="67"/>
                    </a:lnTo>
                    <a:lnTo>
                      <a:pt x="24" y="66"/>
                    </a:lnTo>
                    <a:lnTo>
                      <a:pt x="23" y="66"/>
                    </a:lnTo>
                    <a:lnTo>
                      <a:pt x="22" y="65"/>
                    </a:lnTo>
                    <a:lnTo>
                      <a:pt x="21" y="65"/>
                    </a:lnTo>
                    <a:lnTo>
                      <a:pt x="20" y="65"/>
                    </a:lnTo>
                    <a:lnTo>
                      <a:pt x="19" y="65"/>
                    </a:lnTo>
                    <a:lnTo>
                      <a:pt x="18" y="65"/>
                    </a:lnTo>
                    <a:lnTo>
                      <a:pt x="17" y="65"/>
                    </a:lnTo>
                    <a:lnTo>
                      <a:pt x="16" y="65"/>
                    </a:lnTo>
                    <a:lnTo>
                      <a:pt x="16" y="66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4" y="66"/>
                    </a:lnTo>
                    <a:lnTo>
                      <a:pt x="14" y="66"/>
                    </a:lnTo>
                    <a:lnTo>
                      <a:pt x="13" y="65"/>
                    </a:lnTo>
                    <a:lnTo>
                      <a:pt x="12" y="64"/>
                    </a:lnTo>
                    <a:lnTo>
                      <a:pt x="11" y="63"/>
                    </a:lnTo>
                    <a:lnTo>
                      <a:pt x="10" y="62"/>
                    </a:lnTo>
                    <a:lnTo>
                      <a:pt x="10" y="60"/>
                    </a:lnTo>
                    <a:lnTo>
                      <a:pt x="8" y="58"/>
                    </a:lnTo>
                    <a:lnTo>
                      <a:pt x="8" y="57"/>
                    </a:lnTo>
                    <a:lnTo>
                      <a:pt x="7" y="55"/>
                    </a:lnTo>
                    <a:lnTo>
                      <a:pt x="6" y="54"/>
                    </a:lnTo>
                    <a:lnTo>
                      <a:pt x="5" y="54"/>
                    </a:lnTo>
                    <a:lnTo>
                      <a:pt x="4" y="53"/>
                    </a:lnTo>
                    <a:lnTo>
                      <a:pt x="4" y="52"/>
                    </a:lnTo>
                    <a:lnTo>
                      <a:pt x="3" y="52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1" y="51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9"/>
                    </a:lnTo>
                    <a:lnTo>
                      <a:pt x="0" y="48"/>
                    </a:lnTo>
                    <a:lnTo>
                      <a:pt x="1" y="47"/>
                    </a:lnTo>
                    <a:lnTo>
                      <a:pt x="1" y="46"/>
                    </a:lnTo>
                    <a:lnTo>
                      <a:pt x="2" y="46"/>
                    </a:lnTo>
                    <a:lnTo>
                      <a:pt x="2" y="45"/>
                    </a:lnTo>
                    <a:lnTo>
                      <a:pt x="3" y="43"/>
                    </a:lnTo>
                    <a:lnTo>
                      <a:pt x="4" y="42"/>
                    </a:lnTo>
                    <a:lnTo>
                      <a:pt x="5" y="41"/>
                    </a:lnTo>
                    <a:lnTo>
                      <a:pt x="5" y="40"/>
                    </a:lnTo>
                    <a:lnTo>
                      <a:pt x="6" y="40"/>
                    </a:lnTo>
                    <a:lnTo>
                      <a:pt x="6" y="39"/>
                    </a:lnTo>
                    <a:lnTo>
                      <a:pt x="7" y="38"/>
                    </a:lnTo>
                    <a:lnTo>
                      <a:pt x="10" y="38"/>
                    </a:lnTo>
                    <a:lnTo>
                      <a:pt x="12" y="38"/>
                    </a:lnTo>
                    <a:lnTo>
                      <a:pt x="15" y="38"/>
                    </a:lnTo>
                    <a:lnTo>
                      <a:pt x="18" y="38"/>
                    </a:lnTo>
                    <a:lnTo>
                      <a:pt x="19" y="37"/>
                    </a:lnTo>
                    <a:lnTo>
                      <a:pt x="20" y="36"/>
                    </a:lnTo>
                    <a:lnTo>
                      <a:pt x="21" y="35"/>
                    </a:lnTo>
                    <a:lnTo>
                      <a:pt x="22" y="33"/>
                    </a:lnTo>
                    <a:lnTo>
                      <a:pt x="23" y="31"/>
                    </a:lnTo>
                    <a:lnTo>
                      <a:pt x="25" y="28"/>
                    </a:lnTo>
                    <a:lnTo>
                      <a:pt x="25" y="27"/>
                    </a:lnTo>
                    <a:lnTo>
                      <a:pt x="25" y="26"/>
                    </a:lnTo>
                    <a:lnTo>
                      <a:pt x="25" y="25"/>
                    </a:lnTo>
                    <a:lnTo>
                      <a:pt x="25" y="24"/>
                    </a:lnTo>
                    <a:lnTo>
                      <a:pt x="25" y="23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4" y="21"/>
                    </a:lnTo>
                    <a:lnTo>
                      <a:pt x="24" y="20"/>
                    </a:lnTo>
                    <a:lnTo>
                      <a:pt x="24" y="19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5" y="17"/>
                    </a:lnTo>
                    <a:lnTo>
                      <a:pt x="25" y="16"/>
                    </a:lnTo>
                    <a:lnTo>
                      <a:pt x="25" y="16"/>
                    </a:ln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0" name="Freeform 8"/>
              <p:cNvSpPr>
                <a:spLocks/>
              </p:cNvSpPr>
              <p:nvPr/>
            </p:nvSpPr>
            <p:spPr bwMode="auto">
              <a:xfrm>
                <a:off x="3607927" y="2670787"/>
                <a:ext cx="3017036" cy="1839679"/>
              </a:xfrm>
              <a:custGeom>
                <a:avLst/>
                <a:gdLst/>
                <a:ahLst/>
                <a:cxnLst>
                  <a:cxn ang="0">
                    <a:pos x="218" y="2"/>
                  </a:cxn>
                  <a:cxn ang="0">
                    <a:pos x="219" y="9"/>
                  </a:cxn>
                  <a:cxn ang="0">
                    <a:pos x="232" y="15"/>
                  </a:cxn>
                  <a:cxn ang="0">
                    <a:pos x="242" y="23"/>
                  </a:cxn>
                  <a:cxn ang="0">
                    <a:pos x="241" y="28"/>
                  </a:cxn>
                  <a:cxn ang="0">
                    <a:pos x="244" y="29"/>
                  </a:cxn>
                  <a:cxn ang="0">
                    <a:pos x="250" y="22"/>
                  </a:cxn>
                  <a:cxn ang="0">
                    <a:pos x="264" y="20"/>
                  </a:cxn>
                  <a:cxn ang="0">
                    <a:pos x="271" y="9"/>
                  </a:cxn>
                  <a:cxn ang="0">
                    <a:pos x="282" y="6"/>
                  </a:cxn>
                  <a:cxn ang="0">
                    <a:pos x="293" y="17"/>
                  </a:cxn>
                  <a:cxn ang="0">
                    <a:pos x="291" y="27"/>
                  </a:cxn>
                  <a:cxn ang="0">
                    <a:pos x="285" y="35"/>
                  </a:cxn>
                  <a:cxn ang="0">
                    <a:pos x="286" y="40"/>
                  </a:cxn>
                  <a:cxn ang="0">
                    <a:pos x="290" y="50"/>
                  </a:cxn>
                  <a:cxn ang="0">
                    <a:pos x="292" y="64"/>
                  </a:cxn>
                  <a:cxn ang="0">
                    <a:pos x="295" y="70"/>
                  </a:cxn>
                  <a:cxn ang="0">
                    <a:pos x="290" y="79"/>
                  </a:cxn>
                  <a:cxn ang="0">
                    <a:pos x="293" y="84"/>
                  </a:cxn>
                  <a:cxn ang="0">
                    <a:pos x="298" y="92"/>
                  </a:cxn>
                  <a:cxn ang="0">
                    <a:pos x="293" y="96"/>
                  </a:cxn>
                  <a:cxn ang="0">
                    <a:pos x="291" y="110"/>
                  </a:cxn>
                  <a:cxn ang="0">
                    <a:pos x="296" y="115"/>
                  </a:cxn>
                  <a:cxn ang="0">
                    <a:pos x="303" y="114"/>
                  </a:cxn>
                  <a:cxn ang="0">
                    <a:pos x="304" y="120"/>
                  </a:cxn>
                  <a:cxn ang="0">
                    <a:pos x="299" y="129"/>
                  </a:cxn>
                  <a:cxn ang="0">
                    <a:pos x="256" y="134"/>
                  </a:cxn>
                  <a:cxn ang="0">
                    <a:pos x="237" y="146"/>
                  </a:cxn>
                  <a:cxn ang="0">
                    <a:pos x="229" y="159"/>
                  </a:cxn>
                  <a:cxn ang="0">
                    <a:pos x="193" y="169"/>
                  </a:cxn>
                  <a:cxn ang="0">
                    <a:pos x="131" y="172"/>
                  </a:cxn>
                  <a:cxn ang="0">
                    <a:pos x="123" y="169"/>
                  </a:cxn>
                  <a:cxn ang="0">
                    <a:pos x="92" y="169"/>
                  </a:cxn>
                  <a:cxn ang="0">
                    <a:pos x="73" y="168"/>
                  </a:cxn>
                  <a:cxn ang="0">
                    <a:pos x="46" y="165"/>
                  </a:cxn>
                  <a:cxn ang="0">
                    <a:pos x="20" y="148"/>
                  </a:cxn>
                  <a:cxn ang="0">
                    <a:pos x="4" y="142"/>
                  </a:cxn>
                  <a:cxn ang="0">
                    <a:pos x="3" y="130"/>
                  </a:cxn>
                  <a:cxn ang="0">
                    <a:pos x="20" y="119"/>
                  </a:cxn>
                  <a:cxn ang="0">
                    <a:pos x="26" y="109"/>
                  </a:cxn>
                  <a:cxn ang="0">
                    <a:pos x="24" y="101"/>
                  </a:cxn>
                  <a:cxn ang="0">
                    <a:pos x="30" y="94"/>
                  </a:cxn>
                  <a:cxn ang="0">
                    <a:pos x="42" y="81"/>
                  </a:cxn>
                  <a:cxn ang="0">
                    <a:pos x="55" y="82"/>
                  </a:cxn>
                  <a:cxn ang="0">
                    <a:pos x="70" y="72"/>
                  </a:cxn>
                  <a:cxn ang="0">
                    <a:pos x="73" y="66"/>
                  </a:cxn>
                  <a:cxn ang="0">
                    <a:pos x="81" y="56"/>
                  </a:cxn>
                  <a:cxn ang="0">
                    <a:pos x="99" y="37"/>
                  </a:cxn>
                  <a:cxn ang="0">
                    <a:pos x="103" y="29"/>
                  </a:cxn>
                  <a:cxn ang="0">
                    <a:pos x="107" y="24"/>
                  </a:cxn>
                  <a:cxn ang="0">
                    <a:pos x="115" y="21"/>
                  </a:cxn>
                  <a:cxn ang="0">
                    <a:pos x="123" y="27"/>
                  </a:cxn>
                  <a:cxn ang="0">
                    <a:pos x="128" y="29"/>
                  </a:cxn>
                  <a:cxn ang="0">
                    <a:pos x="133" y="35"/>
                  </a:cxn>
                  <a:cxn ang="0">
                    <a:pos x="148" y="37"/>
                  </a:cxn>
                  <a:cxn ang="0">
                    <a:pos x="157" y="29"/>
                  </a:cxn>
                  <a:cxn ang="0">
                    <a:pos x="164" y="22"/>
                  </a:cxn>
                  <a:cxn ang="0">
                    <a:pos x="171" y="20"/>
                  </a:cxn>
                  <a:cxn ang="0">
                    <a:pos x="174" y="27"/>
                  </a:cxn>
                  <a:cxn ang="0">
                    <a:pos x="182" y="26"/>
                  </a:cxn>
                  <a:cxn ang="0">
                    <a:pos x="186" y="20"/>
                  </a:cxn>
                  <a:cxn ang="0">
                    <a:pos x="192" y="15"/>
                  </a:cxn>
                  <a:cxn ang="0">
                    <a:pos x="204" y="6"/>
                  </a:cxn>
                </a:cxnLst>
                <a:rect l="0" t="0" r="r" b="b"/>
                <a:pathLst>
                  <a:path w="304" h="172">
                    <a:moveTo>
                      <a:pt x="215" y="0"/>
                    </a:moveTo>
                    <a:lnTo>
                      <a:pt x="215" y="0"/>
                    </a:lnTo>
                    <a:lnTo>
                      <a:pt x="215" y="0"/>
                    </a:lnTo>
                    <a:lnTo>
                      <a:pt x="215" y="0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17" y="1"/>
                    </a:lnTo>
                    <a:lnTo>
                      <a:pt x="217" y="2"/>
                    </a:lnTo>
                    <a:lnTo>
                      <a:pt x="218" y="2"/>
                    </a:lnTo>
                    <a:lnTo>
                      <a:pt x="218" y="3"/>
                    </a:lnTo>
                    <a:lnTo>
                      <a:pt x="218" y="4"/>
                    </a:lnTo>
                    <a:lnTo>
                      <a:pt x="219" y="4"/>
                    </a:lnTo>
                    <a:lnTo>
                      <a:pt x="219" y="5"/>
                    </a:lnTo>
                    <a:lnTo>
                      <a:pt x="219" y="6"/>
                    </a:lnTo>
                    <a:lnTo>
                      <a:pt x="219" y="6"/>
                    </a:lnTo>
                    <a:lnTo>
                      <a:pt x="219" y="7"/>
                    </a:lnTo>
                    <a:lnTo>
                      <a:pt x="219" y="8"/>
                    </a:lnTo>
                    <a:lnTo>
                      <a:pt x="219" y="9"/>
                    </a:lnTo>
                    <a:lnTo>
                      <a:pt x="219" y="9"/>
                    </a:lnTo>
                    <a:lnTo>
                      <a:pt x="219" y="10"/>
                    </a:lnTo>
                    <a:lnTo>
                      <a:pt x="218" y="11"/>
                    </a:lnTo>
                    <a:lnTo>
                      <a:pt x="218" y="12"/>
                    </a:lnTo>
                    <a:lnTo>
                      <a:pt x="220" y="12"/>
                    </a:lnTo>
                    <a:lnTo>
                      <a:pt x="221" y="13"/>
                    </a:lnTo>
                    <a:lnTo>
                      <a:pt x="223" y="13"/>
                    </a:lnTo>
                    <a:lnTo>
                      <a:pt x="224" y="13"/>
                    </a:lnTo>
                    <a:lnTo>
                      <a:pt x="227" y="14"/>
                    </a:lnTo>
                    <a:lnTo>
                      <a:pt x="231" y="15"/>
                    </a:lnTo>
                    <a:lnTo>
                      <a:pt x="232" y="15"/>
                    </a:lnTo>
                    <a:lnTo>
                      <a:pt x="234" y="16"/>
                    </a:lnTo>
                    <a:lnTo>
                      <a:pt x="235" y="17"/>
                    </a:lnTo>
                    <a:lnTo>
                      <a:pt x="237" y="17"/>
                    </a:lnTo>
                    <a:lnTo>
                      <a:pt x="238" y="18"/>
                    </a:lnTo>
                    <a:lnTo>
                      <a:pt x="239" y="19"/>
                    </a:lnTo>
                    <a:lnTo>
                      <a:pt x="240" y="20"/>
                    </a:lnTo>
                    <a:lnTo>
                      <a:pt x="241" y="21"/>
                    </a:lnTo>
                    <a:lnTo>
                      <a:pt x="241" y="21"/>
                    </a:lnTo>
                    <a:lnTo>
                      <a:pt x="242" y="22"/>
                    </a:lnTo>
                    <a:lnTo>
                      <a:pt x="242" y="23"/>
                    </a:lnTo>
                    <a:lnTo>
                      <a:pt x="242" y="24"/>
                    </a:lnTo>
                    <a:lnTo>
                      <a:pt x="242" y="25"/>
                    </a:lnTo>
                    <a:lnTo>
                      <a:pt x="242" y="25"/>
                    </a:lnTo>
                    <a:lnTo>
                      <a:pt x="241" y="26"/>
                    </a:lnTo>
                    <a:lnTo>
                      <a:pt x="241" y="26"/>
                    </a:lnTo>
                    <a:lnTo>
                      <a:pt x="241" y="27"/>
                    </a:lnTo>
                    <a:lnTo>
                      <a:pt x="241" y="27"/>
                    </a:lnTo>
                    <a:lnTo>
                      <a:pt x="241" y="28"/>
                    </a:lnTo>
                    <a:lnTo>
                      <a:pt x="241" y="28"/>
                    </a:lnTo>
                    <a:lnTo>
                      <a:pt x="241" y="28"/>
                    </a:lnTo>
                    <a:lnTo>
                      <a:pt x="242" y="28"/>
                    </a:lnTo>
                    <a:lnTo>
                      <a:pt x="242" y="28"/>
                    </a:lnTo>
                    <a:lnTo>
                      <a:pt x="242" y="29"/>
                    </a:lnTo>
                    <a:lnTo>
                      <a:pt x="242" y="29"/>
                    </a:lnTo>
                    <a:lnTo>
                      <a:pt x="243" y="29"/>
                    </a:lnTo>
                    <a:lnTo>
                      <a:pt x="243" y="29"/>
                    </a:lnTo>
                    <a:lnTo>
                      <a:pt x="243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5" y="28"/>
                    </a:lnTo>
                    <a:lnTo>
                      <a:pt x="245" y="28"/>
                    </a:lnTo>
                    <a:lnTo>
                      <a:pt x="246" y="27"/>
                    </a:lnTo>
                    <a:lnTo>
                      <a:pt x="246" y="27"/>
                    </a:lnTo>
                    <a:lnTo>
                      <a:pt x="247" y="26"/>
                    </a:lnTo>
                    <a:lnTo>
                      <a:pt x="248" y="25"/>
                    </a:lnTo>
                    <a:lnTo>
                      <a:pt x="248" y="24"/>
                    </a:lnTo>
                    <a:lnTo>
                      <a:pt x="249" y="23"/>
                    </a:lnTo>
                    <a:lnTo>
                      <a:pt x="250" y="22"/>
                    </a:lnTo>
                    <a:lnTo>
                      <a:pt x="250" y="22"/>
                    </a:lnTo>
                    <a:lnTo>
                      <a:pt x="251" y="21"/>
                    </a:lnTo>
                    <a:lnTo>
                      <a:pt x="252" y="21"/>
                    </a:lnTo>
                    <a:lnTo>
                      <a:pt x="252" y="21"/>
                    </a:lnTo>
                    <a:lnTo>
                      <a:pt x="253" y="20"/>
                    </a:lnTo>
                    <a:lnTo>
                      <a:pt x="253" y="20"/>
                    </a:lnTo>
                    <a:lnTo>
                      <a:pt x="258" y="20"/>
                    </a:lnTo>
                    <a:lnTo>
                      <a:pt x="263" y="20"/>
                    </a:lnTo>
                    <a:lnTo>
                      <a:pt x="264" y="20"/>
                    </a:lnTo>
                    <a:lnTo>
                      <a:pt x="264" y="20"/>
                    </a:lnTo>
                    <a:lnTo>
                      <a:pt x="265" y="19"/>
                    </a:lnTo>
                    <a:lnTo>
                      <a:pt x="266" y="18"/>
                    </a:lnTo>
                    <a:lnTo>
                      <a:pt x="267" y="17"/>
                    </a:lnTo>
                    <a:lnTo>
                      <a:pt x="268" y="16"/>
                    </a:lnTo>
                    <a:lnTo>
                      <a:pt x="268" y="15"/>
                    </a:lnTo>
                    <a:lnTo>
                      <a:pt x="269" y="14"/>
                    </a:lnTo>
                    <a:lnTo>
                      <a:pt x="270" y="13"/>
                    </a:lnTo>
                    <a:lnTo>
                      <a:pt x="270" y="12"/>
                    </a:lnTo>
                    <a:lnTo>
                      <a:pt x="271" y="10"/>
                    </a:lnTo>
                    <a:lnTo>
                      <a:pt x="271" y="9"/>
                    </a:lnTo>
                    <a:lnTo>
                      <a:pt x="272" y="8"/>
                    </a:lnTo>
                    <a:lnTo>
                      <a:pt x="273" y="7"/>
                    </a:lnTo>
                    <a:lnTo>
                      <a:pt x="274" y="7"/>
                    </a:lnTo>
                    <a:lnTo>
                      <a:pt x="274" y="6"/>
                    </a:lnTo>
                    <a:lnTo>
                      <a:pt x="275" y="6"/>
                    </a:lnTo>
                    <a:lnTo>
                      <a:pt x="276" y="6"/>
                    </a:lnTo>
                    <a:lnTo>
                      <a:pt x="276" y="5"/>
                    </a:lnTo>
                    <a:lnTo>
                      <a:pt x="278" y="5"/>
                    </a:lnTo>
                    <a:lnTo>
                      <a:pt x="280" y="6"/>
                    </a:lnTo>
                    <a:lnTo>
                      <a:pt x="282" y="6"/>
                    </a:lnTo>
                    <a:lnTo>
                      <a:pt x="284" y="7"/>
                    </a:lnTo>
                    <a:lnTo>
                      <a:pt x="285" y="7"/>
                    </a:lnTo>
                    <a:lnTo>
                      <a:pt x="287" y="8"/>
                    </a:lnTo>
                    <a:lnTo>
                      <a:pt x="288" y="9"/>
                    </a:lnTo>
                    <a:lnTo>
                      <a:pt x="289" y="10"/>
                    </a:lnTo>
                    <a:lnTo>
                      <a:pt x="290" y="11"/>
                    </a:lnTo>
                    <a:lnTo>
                      <a:pt x="291" y="12"/>
                    </a:lnTo>
                    <a:lnTo>
                      <a:pt x="292" y="14"/>
                    </a:lnTo>
                    <a:lnTo>
                      <a:pt x="293" y="15"/>
                    </a:lnTo>
                    <a:lnTo>
                      <a:pt x="293" y="17"/>
                    </a:lnTo>
                    <a:lnTo>
                      <a:pt x="294" y="19"/>
                    </a:lnTo>
                    <a:lnTo>
                      <a:pt x="294" y="20"/>
                    </a:lnTo>
                    <a:lnTo>
                      <a:pt x="294" y="22"/>
                    </a:lnTo>
                    <a:lnTo>
                      <a:pt x="294" y="23"/>
                    </a:lnTo>
                    <a:lnTo>
                      <a:pt x="293" y="23"/>
                    </a:lnTo>
                    <a:lnTo>
                      <a:pt x="293" y="24"/>
                    </a:lnTo>
                    <a:lnTo>
                      <a:pt x="292" y="24"/>
                    </a:lnTo>
                    <a:lnTo>
                      <a:pt x="292" y="25"/>
                    </a:lnTo>
                    <a:lnTo>
                      <a:pt x="291" y="25"/>
                    </a:lnTo>
                    <a:lnTo>
                      <a:pt x="291" y="27"/>
                    </a:lnTo>
                    <a:lnTo>
                      <a:pt x="290" y="28"/>
                    </a:lnTo>
                    <a:lnTo>
                      <a:pt x="289" y="29"/>
                    </a:lnTo>
                    <a:lnTo>
                      <a:pt x="289" y="31"/>
                    </a:lnTo>
                    <a:lnTo>
                      <a:pt x="288" y="31"/>
                    </a:lnTo>
                    <a:lnTo>
                      <a:pt x="288" y="32"/>
                    </a:lnTo>
                    <a:lnTo>
                      <a:pt x="288" y="32"/>
                    </a:lnTo>
                    <a:lnTo>
                      <a:pt x="287" y="33"/>
                    </a:lnTo>
                    <a:lnTo>
                      <a:pt x="286" y="33"/>
                    </a:lnTo>
                    <a:lnTo>
                      <a:pt x="285" y="34"/>
                    </a:lnTo>
                    <a:lnTo>
                      <a:pt x="285" y="35"/>
                    </a:lnTo>
                    <a:lnTo>
                      <a:pt x="284" y="35"/>
                    </a:lnTo>
                    <a:lnTo>
                      <a:pt x="284" y="35"/>
                    </a:lnTo>
                    <a:lnTo>
                      <a:pt x="284" y="36"/>
                    </a:lnTo>
                    <a:lnTo>
                      <a:pt x="284" y="36"/>
                    </a:lnTo>
                    <a:lnTo>
                      <a:pt x="284" y="37"/>
                    </a:lnTo>
                    <a:lnTo>
                      <a:pt x="284" y="37"/>
                    </a:lnTo>
                    <a:lnTo>
                      <a:pt x="284" y="38"/>
                    </a:lnTo>
                    <a:lnTo>
                      <a:pt x="284" y="39"/>
                    </a:lnTo>
                    <a:lnTo>
                      <a:pt x="285" y="39"/>
                    </a:lnTo>
                    <a:lnTo>
                      <a:pt x="286" y="40"/>
                    </a:lnTo>
                    <a:lnTo>
                      <a:pt x="287" y="41"/>
                    </a:lnTo>
                    <a:lnTo>
                      <a:pt x="287" y="41"/>
                    </a:lnTo>
                    <a:lnTo>
                      <a:pt x="288" y="42"/>
                    </a:lnTo>
                    <a:lnTo>
                      <a:pt x="288" y="43"/>
                    </a:lnTo>
                    <a:lnTo>
                      <a:pt x="289" y="44"/>
                    </a:lnTo>
                    <a:lnTo>
                      <a:pt x="289" y="44"/>
                    </a:lnTo>
                    <a:lnTo>
                      <a:pt x="289" y="45"/>
                    </a:lnTo>
                    <a:lnTo>
                      <a:pt x="290" y="46"/>
                    </a:lnTo>
                    <a:lnTo>
                      <a:pt x="290" y="48"/>
                    </a:lnTo>
                    <a:lnTo>
                      <a:pt x="290" y="50"/>
                    </a:lnTo>
                    <a:lnTo>
                      <a:pt x="290" y="52"/>
                    </a:lnTo>
                    <a:lnTo>
                      <a:pt x="290" y="54"/>
                    </a:lnTo>
                    <a:lnTo>
                      <a:pt x="291" y="56"/>
                    </a:lnTo>
                    <a:lnTo>
                      <a:pt x="291" y="58"/>
                    </a:lnTo>
                    <a:lnTo>
                      <a:pt x="291" y="60"/>
                    </a:lnTo>
                    <a:lnTo>
                      <a:pt x="291" y="61"/>
                    </a:lnTo>
                    <a:lnTo>
                      <a:pt x="291" y="61"/>
                    </a:lnTo>
                    <a:lnTo>
                      <a:pt x="292" y="62"/>
                    </a:lnTo>
                    <a:lnTo>
                      <a:pt x="292" y="63"/>
                    </a:lnTo>
                    <a:lnTo>
                      <a:pt x="292" y="64"/>
                    </a:lnTo>
                    <a:lnTo>
                      <a:pt x="293" y="65"/>
                    </a:lnTo>
                    <a:lnTo>
                      <a:pt x="293" y="66"/>
                    </a:lnTo>
                    <a:lnTo>
                      <a:pt x="294" y="67"/>
                    </a:lnTo>
                    <a:lnTo>
                      <a:pt x="294" y="68"/>
                    </a:lnTo>
                    <a:lnTo>
                      <a:pt x="294" y="68"/>
                    </a:lnTo>
                    <a:lnTo>
                      <a:pt x="294" y="69"/>
                    </a:lnTo>
                    <a:lnTo>
                      <a:pt x="295" y="69"/>
                    </a:lnTo>
                    <a:lnTo>
                      <a:pt x="295" y="69"/>
                    </a:lnTo>
                    <a:lnTo>
                      <a:pt x="295" y="70"/>
                    </a:lnTo>
                    <a:lnTo>
                      <a:pt x="295" y="70"/>
                    </a:lnTo>
                    <a:lnTo>
                      <a:pt x="294" y="71"/>
                    </a:lnTo>
                    <a:lnTo>
                      <a:pt x="294" y="72"/>
                    </a:lnTo>
                    <a:lnTo>
                      <a:pt x="294" y="73"/>
                    </a:lnTo>
                    <a:lnTo>
                      <a:pt x="293" y="73"/>
                    </a:lnTo>
                    <a:lnTo>
                      <a:pt x="293" y="74"/>
                    </a:lnTo>
                    <a:lnTo>
                      <a:pt x="291" y="76"/>
                    </a:lnTo>
                    <a:lnTo>
                      <a:pt x="291" y="77"/>
                    </a:lnTo>
                    <a:lnTo>
                      <a:pt x="290" y="77"/>
                    </a:lnTo>
                    <a:lnTo>
                      <a:pt x="290" y="78"/>
                    </a:lnTo>
                    <a:lnTo>
                      <a:pt x="290" y="79"/>
                    </a:lnTo>
                    <a:lnTo>
                      <a:pt x="290" y="79"/>
                    </a:lnTo>
                    <a:lnTo>
                      <a:pt x="290" y="80"/>
                    </a:lnTo>
                    <a:lnTo>
                      <a:pt x="290" y="80"/>
                    </a:lnTo>
                    <a:lnTo>
                      <a:pt x="290" y="80"/>
                    </a:lnTo>
                    <a:lnTo>
                      <a:pt x="290" y="81"/>
                    </a:lnTo>
                    <a:lnTo>
                      <a:pt x="290" y="82"/>
                    </a:lnTo>
                    <a:lnTo>
                      <a:pt x="291" y="83"/>
                    </a:lnTo>
                    <a:lnTo>
                      <a:pt x="291" y="83"/>
                    </a:lnTo>
                    <a:lnTo>
                      <a:pt x="292" y="84"/>
                    </a:lnTo>
                    <a:lnTo>
                      <a:pt x="293" y="84"/>
                    </a:lnTo>
                    <a:lnTo>
                      <a:pt x="294" y="85"/>
                    </a:lnTo>
                    <a:lnTo>
                      <a:pt x="295" y="86"/>
                    </a:lnTo>
                    <a:lnTo>
                      <a:pt x="295" y="87"/>
                    </a:lnTo>
                    <a:lnTo>
                      <a:pt x="296" y="87"/>
                    </a:lnTo>
                    <a:lnTo>
                      <a:pt x="297" y="88"/>
                    </a:lnTo>
                    <a:lnTo>
                      <a:pt x="297" y="89"/>
                    </a:lnTo>
                    <a:lnTo>
                      <a:pt x="298" y="90"/>
                    </a:lnTo>
                    <a:lnTo>
                      <a:pt x="298" y="91"/>
                    </a:lnTo>
                    <a:lnTo>
                      <a:pt x="298" y="92"/>
                    </a:lnTo>
                    <a:lnTo>
                      <a:pt x="298" y="92"/>
                    </a:lnTo>
                    <a:lnTo>
                      <a:pt x="298" y="93"/>
                    </a:lnTo>
                    <a:lnTo>
                      <a:pt x="297" y="93"/>
                    </a:lnTo>
                    <a:lnTo>
                      <a:pt x="297" y="94"/>
                    </a:lnTo>
                    <a:lnTo>
                      <a:pt x="296" y="94"/>
                    </a:lnTo>
                    <a:lnTo>
                      <a:pt x="296" y="95"/>
                    </a:lnTo>
                    <a:lnTo>
                      <a:pt x="295" y="95"/>
                    </a:lnTo>
                    <a:lnTo>
                      <a:pt x="295" y="95"/>
                    </a:lnTo>
                    <a:lnTo>
                      <a:pt x="294" y="95"/>
                    </a:lnTo>
                    <a:lnTo>
                      <a:pt x="294" y="95"/>
                    </a:lnTo>
                    <a:lnTo>
                      <a:pt x="293" y="96"/>
                    </a:lnTo>
                    <a:lnTo>
                      <a:pt x="293" y="96"/>
                    </a:lnTo>
                    <a:lnTo>
                      <a:pt x="292" y="96"/>
                    </a:lnTo>
                    <a:lnTo>
                      <a:pt x="292" y="97"/>
                    </a:lnTo>
                    <a:lnTo>
                      <a:pt x="292" y="97"/>
                    </a:lnTo>
                    <a:lnTo>
                      <a:pt x="292" y="98"/>
                    </a:lnTo>
                    <a:lnTo>
                      <a:pt x="292" y="101"/>
                    </a:lnTo>
                    <a:lnTo>
                      <a:pt x="292" y="103"/>
                    </a:lnTo>
                    <a:lnTo>
                      <a:pt x="292" y="105"/>
                    </a:lnTo>
                    <a:lnTo>
                      <a:pt x="291" y="107"/>
                    </a:lnTo>
                    <a:lnTo>
                      <a:pt x="291" y="110"/>
                    </a:lnTo>
                    <a:lnTo>
                      <a:pt x="291" y="112"/>
                    </a:lnTo>
                    <a:lnTo>
                      <a:pt x="291" y="115"/>
                    </a:lnTo>
                    <a:lnTo>
                      <a:pt x="291" y="117"/>
                    </a:lnTo>
                    <a:lnTo>
                      <a:pt x="292" y="117"/>
                    </a:lnTo>
                    <a:lnTo>
                      <a:pt x="293" y="117"/>
                    </a:lnTo>
                    <a:lnTo>
                      <a:pt x="293" y="117"/>
                    </a:lnTo>
                    <a:lnTo>
                      <a:pt x="294" y="116"/>
                    </a:lnTo>
                    <a:lnTo>
                      <a:pt x="295" y="116"/>
                    </a:lnTo>
                    <a:lnTo>
                      <a:pt x="295" y="115"/>
                    </a:lnTo>
                    <a:lnTo>
                      <a:pt x="296" y="115"/>
                    </a:lnTo>
                    <a:lnTo>
                      <a:pt x="297" y="114"/>
                    </a:lnTo>
                    <a:lnTo>
                      <a:pt x="297" y="114"/>
                    </a:lnTo>
                    <a:lnTo>
                      <a:pt x="298" y="114"/>
                    </a:lnTo>
                    <a:lnTo>
                      <a:pt x="299" y="113"/>
                    </a:lnTo>
                    <a:lnTo>
                      <a:pt x="300" y="113"/>
                    </a:lnTo>
                    <a:lnTo>
                      <a:pt x="301" y="113"/>
                    </a:lnTo>
                    <a:lnTo>
                      <a:pt x="302" y="113"/>
                    </a:lnTo>
                    <a:lnTo>
                      <a:pt x="302" y="113"/>
                    </a:lnTo>
                    <a:lnTo>
                      <a:pt x="303" y="114"/>
                    </a:lnTo>
                    <a:lnTo>
                      <a:pt x="303" y="114"/>
                    </a:lnTo>
                    <a:lnTo>
                      <a:pt x="304" y="115"/>
                    </a:lnTo>
                    <a:lnTo>
                      <a:pt x="304" y="116"/>
                    </a:lnTo>
                    <a:lnTo>
                      <a:pt x="304" y="116"/>
                    </a:lnTo>
                    <a:lnTo>
                      <a:pt x="304" y="117"/>
                    </a:lnTo>
                    <a:lnTo>
                      <a:pt x="304" y="117"/>
                    </a:lnTo>
                    <a:lnTo>
                      <a:pt x="304" y="118"/>
                    </a:lnTo>
                    <a:lnTo>
                      <a:pt x="304" y="118"/>
                    </a:lnTo>
                    <a:lnTo>
                      <a:pt x="304" y="119"/>
                    </a:lnTo>
                    <a:lnTo>
                      <a:pt x="304" y="119"/>
                    </a:lnTo>
                    <a:lnTo>
                      <a:pt x="304" y="120"/>
                    </a:lnTo>
                    <a:lnTo>
                      <a:pt x="303" y="121"/>
                    </a:lnTo>
                    <a:lnTo>
                      <a:pt x="302" y="122"/>
                    </a:lnTo>
                    <a:lnTo>
                      <a:pt x="302" y="123"/>
                    </a:lnTo>
                    <a:lnTo>
                      <a:pt x="301" y="124"/>
                    </a:lnTo>
                    <a:lnTo>
                      <a:pt x="300" y="125"/>
                    </a:lnTo>
                    <a:lnTo>
                      <a:pt x="300" y="126"/>
                    </a:lnTo>
                    <a:lnTo>
                      <a:pt x="300" y="127"/>
                    </a:lnTo>
                    <a:lnTo>
                      <a:pt x="300" y="128"/>
                    </a:lnTo>
                    <a:lnTo>
                      <a:pt x="299" y="128"/>
                    </a:lnTo>
                    <a:lnTo>
                      <a:pt x="299" y="129"/>
                    </a:lnTo>
                    <a:lnTo>
                      <a:pt x="299" y="130"/>
                    </a:lnTo>
                    <a:lnTo>
                      <a:pt x="299" y="130"/>
                    </a:lnTo>
                    <a:lnTo>
                      <a:pt x="299" y="131"/>
                    </a:lnTo>
                    <a:lnTo>
                      <a:pt x="299" y="132"/>
                    </a:lnTo>
                    <a:lnTo>
                      <a:pt x="290" y="132"/>
                    </a:lnTo>
                    <a:lnTo>
                      <a:pt x="281" y="132"/>
                    </a:lnTo>
                    <a:lnTo>
                      <a:pt x="272" y="132"/>
                    </a:lnTo>
                    <a:lnTo>
                      <a:pt x="263" y="132"/>
                    </a:lnTo>
                    <a:lnTo>
                      <a:pt x="260" y="133"/>
                    </a:lnTo>
                    <a:lnTo>
                      <a:pt x="256" y="134"/>
                    </a:lnTo>
                    <a:lnTo>
                      <a:pt x="253" y="136"/>
                    </a:lnTo>
                    <a:lnTo>
                      <a:pt x="250" y="137"/>
                    </a:lnTo>
                    <a:lnTo>
                      <a:pt x="247" y="139"/>
                    </a:lnTo>
                    <a:lnTo>
                      <a:pt x="244" y="140"/>
                    </a:lnTo>
                    <a:lnTo>
                      <a:pt x="243" y="141"/>
                    </a:lnTo>
                    <a:lnTo>
                      <a:pt x="242" y="142"/>
                    </a:lnTo>
                    <a:lnTo>
                      <a:pt x="240" y="143"/>
                    </a:lnTo>
                    <a:lnTo>
                      <a:pt x="239" y="144"/>
                    </a:lnTo>
                    <a:lnTo>
                      <a:pt x="238" y="145"/>
                    </a:lnTo>
                    <a:lnTo>
                      <a:pt x="237" y="146"/>
                    </a:lnTo>
                    <a:lnTo>
                      <a:pt x="236" y="147"/>
                    </a:lnTo>
                    <a:lnTo>
                      <a:pt x="235" y="148"/>
                    </a:lnTo>
                    <a:lnTo>
                      <a:pt x="234" y="150"/>
                    </a:lnTo>
                    <a:lnTo>
                      <a:pt x="233" y="151"/>
                    </a:lnTo>
                    <a:lnTo>
                      <a:pt x="232" y="152"/>
                    </a:lnTo>
                    <a:lnTo>
                      <a:pt x="231" y="153"/>
                    </a:lnTo>
                    <a:lnTo>
                      <a:pt x="230" y="155"/>
                    </a:lnTo>
                    <a:lnTo>
                      <a:pt x="230" y="156"/>
                    </a:lnTo>
                    <a:lnTo>
                      <a:pt x="229" y="157"/>
                    </a:lnTo>
                    <a:lnTo>
                      <a:pt x="229" y="159"/>
                    </a:lnTo>
                    <a:lnTo>
                      <a:pt x="228" y="161"/>
                    </a:lnTo>
                    <a:lnTo>
                      <a:pt x="228" y="162"/>
                    </a:lnTo>
                    <a:lnTo>
                      <a:pt x="228" y="164"/>
                    </a:lnTo>
                    <a:lnTo>
                      <a:pt x="228" y="165"/>
                    </a:lnTo>
                    <a:lnTo>
                      <a:pt x="222" y="166"/>
                    </a:lnTo>
                    <a:lnTo>
                      <a:pt x="216" y="167"/>
                    </a:lnTo>
                    <a:lnTo>
                      <a:pt x="211" y="168"/>
                    </a:lnTo>
                    <a:lnTo>
                      <a:pt x="205" y="168"/>
                    </a:lnTo>
                    <a:lnTo>
                      <a:pt x="199" y="169"/>
                    </a:lnTo>
                    <a:lnTo>
                      <a:pt x="193" y="169"/>
                    </a:lnTo>
                    <a:lnTo>
                      <a:pt x="187" y="170"/>
                    </a:lnTo>
                    <a:lnTo>
                      <a:pt x="181" y="171"/>
                    </a:lnTo>
                    <a:lnTo>
                      <a:pt x="175" y="171"/>
                    </a:lnTo>
                    <a:lnTo>
                      <a:pt x="169" y="171"/>
                    </a:lnTo>
                    <a:lnTo>
                      <a:pt x="163" y="172"/>
                    </a:lnTo>
                    <a:lnTo>
                      <a:pt x="157" y="172"/>
                    </a:lnTo>
                    <a:lnTo>
                      <a:pt x="150" y="172"/>
                    </a:lnTo>
                    <a:lnTo>
                      <a:pt x="144" y="172"/>
                    </a:lnTo>
                    <a:lnTo>
                      <a:pt x="138" y="172"/>
                    </a:lnTo>
                    <a:lnTo>
                      <a:pt x="131" y="172"/>
                    </a:lnTo>
                    <a:lnTo>
                      <a:pt x="131" y="171"/>
                    </a:lnTo>
                    <a:lnTo>
                      <a:pt x="131" y="171"/>
                    </a:lnTo>
                    <a:lnTo>
                      <a:pt x="130" y="170"/>
                    </a:lnTo>
                    <a:lnTo>
                      <a:pt x="130" y="170"/>
                    </a:lnTo>
                    <a:lnTo>
                      <a:pt x="130" y="169"/>
                    </a:lnTo>
                    <a:lnTo>
                      <a:pt x="129" y="169"/>
                    </a:lnTo>
                    <a:lnTo>
                      <a:pt x="128" y="169"/>
                    </a:lnTo>
                    <a:lnTo>
                      <a:pt x="128" y="169"/>
                    </a:lnTo>
                    <a:lnTo>
                      <a:pt x="125" y="169"/>
                    </a:lnTo>
                    <a:lnTo>
                      <a:pt x="123" y="169"/>
                    </a:lnTo>
                    <a:lnTo>
                      <a:pt x="120" y="169"/>
                    </a:lnTo>
                    <a:lnTo>
                      <a:pt x="118" y="169"/>
                    </a:lnTo>
                    <a:lnTo>
                      <a:pt x="112" y="168"/>
                    </a:lnTo>
                    <a:lnTo>
                      <a:pt x="107" y="168"/>
                    </a:lnTo>
                    <a:lnTo>
                      <a:pt x="104" y="168"/>
                    </a:lnTo>
                    <a:lnTo>
                      <a:pt x="102" y="168"/>
                    </a:lnTo>
                    <a:lnTo>
                      <a:pt x="99" y="168"/>
                    </a:lnTo>
                    <a:lnTo>
                      <a:pt x="97" y="168"/>
                    </a:lnTo>
                    <a:lnTo>
                      <a:pt x="94" y="169"/>
                    </a:lnTo>
                    <a:lnTo>
                      <a:pt x="92" y="169"/>
                    </a:lnTo>
                    <a:lnTo>
                      <a:pt x="90" y="169"/>
                    </a:lnTo>
                    <a:lnTo>
                      <a:pt x="89" y="170"/>
                    </a:lnTo>
                    <a:lnTo>
                      <a:pt x="88" y="170"/>
                    </a:lnTo>
                    <a:lnTo>
                      <a:pt x="86" y="170"/>
                    </a:lnTo>
                    <a:lnTo>
                      <a:pt x="84" y="169"/>
                    </a:lnTo>
                    <a:lnTo>
                      <a:pt x="82" y="169"/>
                    </a:lnTo>
                    <a:lnTo>
                      <a:pt x="80" y="169"/>
                    </a:lnTo>
                    <a:lnTo>
                      <a:pt x="78" y="168"/>
                    </a:lnTo>
                    <a:lnTo>
                      <a:pt x="75" y="168"/>
                    </a:lnTo>
                    <a:lnTo>
                      <a:pt x="73" y="168"/>
                    </a:lnTo>
                    <a:lnTo>
                      <a:pt x="71" y="168"/>
                    </a:lnTo>
                    <a:lnTo>
                      <a:pt x="66" y="168"/>
                    </a:lnTo>
                    <a:lnTo>
                      <a:pt x="61" y="168"/>
                    </a:lnTo>
                    <a:lnTo>
                      <a:pt x="58" y="169"/>
                    </a:lnTo>
                    <a:lnTo>
                      <a:pt x="56" y="169"/>
                    </a:lnTo>
                    <a:lnTo>
                      <a:pt x="54" y="169"/>
                    </a:lnTo>
                    <a:lnTo>
                      <a:pt x="51" y="169"/>
                    </a:lnTo>
                    <a:lnTo>
                      <a:pt x="50" y="167"/>
                    </a:lnTo>
                    <a:lnTo>
                      <a:pt x="48" y="166"/>
                    </a:lnTo>
                    <a:lnTo>
                      <a:pt x="46" y="165"/>
                    </a:lnTo>
                    <a:lnTo>
                      <a:pt x="44" y="163"/>
                    </a:lnTo>
                    <a:lnTo>
                      <a:pt x="40" y="161"/>
                    </a:lnTo>
                    <a:lnTo>
                      <a:pt x="36" y="158"/>
                    </a:lnTo>
                    <a:lnTo>
                      <a:pt x="33" y="156"/>
                    </a:lnTo>
                    <a:lnTo>
                      <a:pt x="29" y="154"/>
                    </a:lnTo>
                    <a:lnTo>
                      <a:pt x="27" y="152"/>
                    </a:lnTo>
                    <a:lnTo>
                      <a:pt x="25" y="151"/>
                    </a:lnTo>
                    <a:lnTo>
                      <a:pt x="23" y="150"/>
                    </a:lnTo>
                    <a:lnTo>
                      <a:pt x="22" y="149"/>
                    </a:lnTo>
                    <a:lnTo>
                      <a:pt x="20" y="148"/>
                    </a:lnTo>
                    <a:lnTo>
                      <a:pt x="18" y="148"/>
                    </a:lnTo>
                    <a:lnTo>
                      <a:pt x="16" y="148"/>
                    </a:lnTo>
                    <a:lnTo>
                      <a:pt x="14" y="147"/>
                    </a:lnTo>
                    <a:lnTo>
                      <a:pt x="12" y="147"/>
                    </a:lnTo>
                    <a:lnTo>
                      <a:pt x="11" y="146"/>
                    </a:lnTo>
                    <a:lnTo>
                      <a:pt x="9" y="145"/>
                    </a:lnTo>
                    <a:lnTo>
                      <a:pt x="8" y="145"/>
                    </a:lnTo>
                    <a:lnTo>
                      <a:pt x="6" y="144"/>
                    </a:lnTo>
                    <a:lnTo>
                      <a:pt x="5" y="143"/>
                    </a:lnTo>
                    <a:lnTo>
                      <a:pt x="4" y="142"/>
                    </a:lnTo>
                    <a:lnTo>
                      <a:pt x="3" y="141"/>
                    </a:lnTo>
                    <a:lnTo>
                      <a:pt x="2" y="140"/>
                    </a:lnTo>
                    <a:lnTo>
                      <a:pt x="1" y="138"/>
                    </a:lnTo>
                    <a:lnTo>
                      <a:pt x="0" y="137"/>
                    </a:lnTo>
                    <a:lnTo>
                      <a:pt x="0" y="135"/>
                    </a:lnTo>
                    <a:lnTo>
                      <a:pt x="0" y="134"/>
                    </a:lnTo>
                    <a:lnTo>
                      <a:pt x="1" y="133"/>
                    </a:lnTo>
                    <a:lnTo>
                      <a:pt x="2" y="132"/>
                    </a:lnTo>
                    <a:lnTo>
                      <a:pt x="2" y="131"/>
                    </a:lnTo>
                    <a:lnTo>
                      <a:pt x="3" y="130"/>
                    </a:lnTo>
                    <a:lnTo>
                      <a:pt x="4" y="130"/>
                    </a:lnTo>
                    <a:lnTo>
                      <a:pt x="5" y="129"/>
                    </a:lnTo>
                    <a:lnTo>
                      <a:pt x="6" y="128"/>
                    </a:lnTo>
                    <a:lnTo>
                      <a:pt x="8" y="127"/>
                    </a:lnTo>
                    <a:lnTo>
                      <a:pt x="10" y="126"/>
                    </a:lnTo>
                    <a:lnTo>
                      <a:pt x="12" y="124"/>
                    </a:lnTo>
                    <a:lnTo>
                      <a:pt x="14" y="123"/>
                    </a:lnTo>
                    <a:lnTo>
                      <a:pt x="16" y="122"/>
                    </a:lnTo>
                    <a:lnTo>
                      <a:pt x="18" y="120"/>
                    </a:lnTo>
                    <a:lnTo>
                      <a:pt x="20" y="119"/>
                    </a:lnTo>
                    <a:lnTo>
                      <a:pt x="21" y="118"/>
                    </a:lnTo>
                    <a:lnTo>
                      <a:pt x="22" y="117"/>
                    </a:lnTo>
                    <a:lnTo>
                      <a:pt x="23" y="117"/>
                    </a:lnTo>
                    <a:lnTo>
                      <a:pt x="23" y="116"/>
                    </a:lnTo>
                    <a:lnTo>
                      <a:pt x="24" y="115"/>
                    </a:lnTo>
                    <a:lnTo>
                      <a:pt x="25" y="114"/>
                    </a:lnTo>
                    <a:lnTo>
                      <a:pt x="25" y="112"/>
                    </a:lnTo>
                    <a:lnTo>
                      <a:pt x="26" y="111"/>
                    </a:lnTo>
                    <a:lnTo>
                      <a:pt x="26" y="110"/>
                    </a:lnTo>
                    <a:lnTo>
                      <a:pt x="26" y="109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5" y="107"/>
                    </a:lnTo>
                    <a:lnTo>
                      <a:pt x="25" y="106"/>
                    </a:lnTo>
                    <a:lnTo>
                      <a:pt x="25" y="106"/>
                    </a:lnTo>
                    <a:lnTo>
                      <a:pt x="25" y="105"/>
                    </a:lnTo>
                    <a:lnTo>
                      <a:pt x="25" y="104"/>
                    </a:lnTo>
                    <a:lnTo>
                      <a:pt x="24" y="102"/>
                    </a:lnTo>
                    <a:lnTo>
                      <a:pt x="24" y="102"/>
                    </a:lnTo>
                    <a:lnTo>
                      <a:pt x="24" y="101"/>
                    </a:lnTo>
                    <a:lnTo>
                      <a:pt x="24" y="100"/>
                    </a:lnTo>
                    <a:lnTo>
                      <a:pt x="24" y="100"/>
                    </a:lnTo>
                    <a:lnTo>
                      <a:pt x="23" y="99"/>
                    </a:lnTo>
                    <a:lnTo>
                      <a:pt x="23" y="99"/>
                    </a:lnTo>
                    <a:lnTo>
                      <a:pt x="24" y="98"/>
                    </a:lnTo>
                    <a:lnTo>
                      <a:pt x="26" y="97"/>
                    </a:lnTo>
                    <a:lnTo>
                      <a:pt x="27" y="96"/>
                    </a:lnTo>
                    <a:lnTo>
                      <a:pt x="28" y="95"/>
                    </a:lnTo>
                    <a:lnTo>
                      <a:pt x="29" y="95"/>
                    </a:lnTo>
                    <a:lnTo>
                      <a:pt x="30" y="94"/>
                    </a:lnTo>
                    <a:lnTo>
                      <a:pt x="31" y="93"/>
                    </a:lnTo>
                    <a:lnTo>
                      <a:pt x="32" y="91"/>
                    </a:lnTo>
                    <a:lnTo>
                      <a:pt x="33" y="89"/>
                    </a:lnTo>
                    <a:lnTo>
                      <a:pt x="35" y="87"/>
                    </a:lnTo>
                    <a:lnTo>
                      <a:pt x="36" y="84"/>
                    </a:lnTo>
                    <a:lnTo>
                      <a:pt x="38" y="82"/>
                    </a:lnTo>
                    <a:lnTo>
                      <a:pt x="39" y="82"/>
                    </a:lnTo>
                    <a:lnTo>
                      <a:pt x="40" y="81"/>
                    </a:lnTo>
                    <a:lnTo>
                      <a:pt x="41" y="81"/>
                    </a:lnTo>
                    <a:lnTo>
                      <a:pt x="42" y="81"/>
                    </a:lnTo>
                    <a:lnTo>
                      <a:pt x="43" y="81"/>
                    </a:lnTo>
                    <a:lnTo>
                      <a:pt x="44" y="81"/>
                    </a:lnTo>
                    <a:lnTo>
                      <a:pt x="46" y="82"/>
                    </a:lnTo>
                    <a:lnTo>
                      <a:pt x="47" y="82"/>
                    </a:lnTo>
                    <a:lnTo>
                      <a:pt x="48" y="82"/>
                    </a:lnTo>
                    <a:lnTo>
                      <a:pt x="49" y="82"/>
                    </a:lnTo>
                    <a:lnTo>
                      <a:pt x="51" y="82"/>
                    </a:lnTo>
                    <a:lnTo>
                      <a:pt x="52" y="82"/>
                    </a:lnTo>
                    <a:lnTo>
                      <a:pt x="54" y="82"/>
                    </a:lnTo>
                    <a:lnTo>
                      <a:pt x="55" y="82"/>
                    </a:lnTo>
                    <a:lnTo>
                      <a:pt x="56" y="82"/>
                    </a:lnTo>
                    <a:lnTo>
                      <a:pt x="57" y="81"/>
                    </a:lnTo>
                    <a:lnTo>
                      <a:pt x="58" y="81"/>
                    </a:lnTo>
                    <a:lnTo>
                      <a:pt x="60" y="80"/>
                    </a:lnTo>
                    <a:lnTo>
                      <a:pt x="62" y="78"/>
                    </a:lnTo>
                    <a:lnTo>
                      <a:pt x="64" y="77"/>
                    </a:lnTo>
                    <a:lnTo>
                      <a:pt x="66" y="76"/>
                    </a:lnTo>
                    <a:lnTo>
                      <a:pt x="67" y="74"/>
                    </a:lnTo>
                    <a:lnTo>
                      <a:pt x="69" y="73"/>
                    </a:lnTo>
                    <a:lnTo>
                      <a:pt x="70" y="72"/>
                    </a:lnTo>
                    <a:lnTo>
                      <a:pt x="71" y="72"/>
                    </a:lnTo>
                    <a:lnTo>
                      <a:pt x="71" y="71"/>
                    </a:lnTo>
                    <a:lnTo>
                      <a:pt x="71" y="70"/>
                    </a:lnTo>
                    <a:lnTo>
                      <a:pt x="71" y="70"/>
                    </a:lnTo>
                    <a:lnTo>
                      <a:pt x="71" y="69"/>
                    </a:lnTo>
                    <a:lnTo>
                      <a:pt x="71" y="68"/>
                    </a:lnTo>
                    <a:lnTo>
                      <a:pt x="72" y="68"/>
                    </a:lnTo>
                    <a:lnTo>
                      <a:pt x="72" y="67"/>
                    </a:lnTo>
                    <a:lnTo>
                      <a:pt x="73" y="66"/>
                    </a:lnTo>
                    <a:lnTo>
                      <a:pt x="73" y="66"/>
                    </a:lnTo>
                    <a:lnTo>
                      <a:pt x="73" y="65"/>
                    </a:lnTo>
                    <a:lnTo>
                      <a:pt x="73" y="64"/>
                    </a:lnTo>
                    <a:lnTo>
                      <a:pt x="73" y="64"/>
                    </a:lnTo>
                    <a:lnTo>
                      <a:pt x="73" y="63"/>
                    </a:lnTo>
                    <a:lnTo>
                      <a:pt x="73" y="62"/>
                    </a:lnTo>
                    <a:lnTo>
                      <a:pt x="74" y="61"/>
                    </a:lnTo>
                    <a:lnTo>
                      <a:pt x="75" y="61"/>
                    </a:lnTo>
                    <a:lnTo>
                      <a:pt x="78" y="59"/>
                    </a:lnTo>
                    <a:lnTo>
                      <a:pt x="79" y="58"/>
                    </a:lnTo>
                    <a:lnTo>
                      <a:pt x="81" y="56"/>
                    </a:lnTo>
                    <a:lnTo>
                      <a:pt x="83" y="54"/>
                    </a:lnTo>
                    <a:lnTo>
                      <a:pt x="85" y="53"/>
                    </a:lnTo>
                    <a:lnTo>
                      <a:pt x="86" y="51"/>
                    </a:lnTo>
                    <a:lnTo>
                      <a:pt x="88" y="49"/>
                    </a:lnTo>
                    <a:lnTo>
                      <a:pt x="91" y="45"/>
                    </a:lnTo>
                    <a:lnTo>
                      <a:pt x="93" y="43"/>
                    </a:lnTo>
                    <a:lnTo>
                      <a:pt x="94" y="42"/>
                    </a:lnTo>
                    <a:lnTo>
                      <a:pt x="96" y="40"/>
                    </a:lnTo>
                    <a:lnTo>
                      <a:pt x="98" y="38"/>
                    </a:lnTo>
                    <a:lnTo>
                      <a:pt x="99" y="37"/>
                    </a:lnTo>
                    <a:lnTo>
                      <a:pt x="101" y="35"/>
                    </a:lnTo>
                    <a:lnTo>
                      <a:pt x="101" y="35"/>
                    </a:lnTo>
                    <a:lnTo>
                      <a:pt x="101" y="34"/>
                    </a:lnTo>
                    <a:lnTo>
                      <a:pt x="101" y="33"/>
                    </a:lnTo>
                    <a:lnTo>
                      <a:pt x="101" y="32"/>
                    </a:lnTo>
                    <a:lnTo>
                      <a:pt x="101" y="32"/>
                    </a:lnTo>
                    <a:lnTo>
                      <a:pt x="102" y="31"/>
                    </a:lnTo>
                    <a:lnTo>
                      <a:pt x="102" y="30"/>
                    </a:lnTo>
                    <a:lnTo>
                      <a:pt x="103" y="29"/>
                    </a:lnTo>
                    <a:lnTo>
                      <a:pt x="103" y="29"/>
                    </a:lnTo>
                    <a:lnTo>
                      <a:pt x="103" y="28"/>
                    </a:lnTo>
                    <a:lnTo>
                      <a:pt x="103" y="28"/>
                    </a:lnTo>
                    <a:lnTo>
                      <a:pt x="103" y="27"/>
                    </a:lnTo>
                    <a:lnTo>
                      <a:pt x="103" y="26"/>
                    </a:lnTo>
                    <a:lnTo>
                      <a:pt x="103" y="25"/>
                    </a:lnTo>
                    <a:lnTo>
                      <a:pt x="104" y="25"/>
                    </a:lnTo>
                    <a:lnTo>
                      <a:pt x="105" y="25"/>
                    </a:lnTo>
                    <a:lnTo>
                      <a:pt x="106" y="25"/>
                    </a:lnTo>
                    <a:lnTo>
                      <a:pt x="107" y="25"/>
                    </a:lnTo>
                    <a:lnTo>
                      <a:pt x="107" y="24"/>
                    </a:lnTo>
                    <a:lnTo>
                      <a:pt x="108" y="24"/>
                    </a:lnTo>
                    <a:lnTo>
                      <a:pt x="109" y="23"/>
                    </a:lnTo>
                    <a:lnTo>
                      <a:pt x="110" y="22"/>
                    </a:lnTo>
                    <a:lnTo>
                      <a:pt x="111" y="22"/>
                    </a:lnTo>
                    <a:lnTo>
                      <a:pt x="111" y="21"/>
                    </a:lnTo>
                    <a:lnTo>
                      <a:pt x="112" y="21"/>
                    </a:lnTo>
                    <a:lnTo>
                      <a:pt x="113" y="21"/>
                    </a:lnTo>
                    <a:lnTo>
                      <a:pt x="114" y="20"/>
                    </a:lnTo>
                    <a:lnTo>
                      <a:pt x="115" y="20"/>
                    </a:lnTo>
                    <a:lnTo>
                      <a:pt x="115" y="21"/>
                    </a:lnTo>
                    <a:lnTo>
                      <a:pt x="116" y="21"/>
                    </a:lnTo>
                    <a:lnTo>
                      <a:pt x="117" y="22"/>
                    </a:lnTo>
                    <a:lnTo>
                      <a:pt x="117" y="23"/>
                    </a:lnTo>
                    <a:lnTo>
                      <a:pt x="118" y="24"/>
                    </a:lnTo>
                    <a:lnTo>
                      <a:pt x="119" y="25"/>
                    </a:lnTo>
                    <a:lnTo>
                      <a:pt x="120" y="26"/>
                    </a:lnTo>
                    <a:lnTo>
                      <a:pt x="120" y="26"/>
                    </a:lnTo>
                    <a:lnTo>
                      <a:pt x="121" y="27"/>
                    </a:lnTo>
                    <a:lnTo>
                      <a:pt x="122" y="27"/>
                    </a:lnTo>
                    <a:lnTo>
                      <a:pt x="123" y="27"/>
                    </a:lnTo>
                    <a:lnTo>
                      <a:pt x="124" y="27"/>
                    </a:lnTo>
                    <a:lnTo>
                      <a:pt x="124" y="27"/>
                    </a:lnTo>
                    <a:lnTo>
                      <a:pt x="125" y="27"/>
                    </a:lnTo>
                    <a:lnTo>
                      <a:pt x="126" y="27"/>
                    </a:lnTo>
                    <a:lnTo>
                      <a:pt x="126" y="27"/>
                    </a:lnTo>
                    <a:lnTo>
                      <a:pt x="127" y="27"/>
                    </a:lnTo>
                    <a:lnTo>
                      <a:pt x="128" y="27"/>
                    </a:lnTo>
                    <a:lnTo>
                      <a:pt x="128" y="28"/>
                    </a:lnTo>
                    <a:lnTo>
                      <a:pt x="128" y="29"/>
                    </a:lnTo>
                    <a:lnTo>
                      <a:pt x="128" y="29"/>
                    </a:lnTo>
                    <a:lnTo>
                      <a:pt x="128" y="30"/>
                    </a:lnTo>
                    <a:lnTo>
                      <a:pt x="128" y="30"/>
                    </a:lnTo>
                    <a:lnTo>
                      <a:pt x="129" y="31"/>
                    </a:lnTo>
                    <a:lnTo>
                      <a:pt x="129" y="32"/>
                    </a:lnTo>
                    <a:lnTo>
                      <a:pt x="130" y="32"/>
                    </a:lnTo>
                    <a:lnTo>
                      <a:pt x="130" y="33"/>
                    </a:lnTo>
                    <a:lnTo>
                      <a:pt x="131" y="34"/>
                    </a:lnTo>
                    <a:lnTo>
                      <a:pt x="131" y="35"/>
                    </a:lnTo>
                    <a:lnTo>
                      <a:pt x="131" y="35"/>
                    </a:lnTo>
                    <a:lnTo>
                      <a:pt x="133" y="35"/>
                    </a:lnTo>
                    <a:lnTo>
                      <a:pt x="134" y="35"/>
                    </a:lnTo>
                    <a:lnTo>
                      <a:pt x="136" y="35"/>
                    </a:lnTo>
                    <a:lnTo>
                      <a:pt x="137" y="35"/>
                    </a:lnTo>
                    <a:lnTo>
                      <a:pt x="138" y="36"/>
                    </a:lnTo>
                    <a:lnTo>
                      <a:pt x="140" y="36"/>
                    </a:lnTo>
                    <a:lnTo>
                      <a:pt x="142" y="36"/>
                    </a:lnTo>
                    <a:lnTo>
                      <a:pt x="144" y="37"/>
                    </a:lnTo>
                    <a:lnTo>
                      <a:pt x="146" y="37"/>
                    </a:lnTo>
                    <a:lnTo>
                      <a:pt x="147" y="37"/>
                    </a:lnTo>
                    <a:lnTo>
                      <a:pt x="148" y="37"/>
                    </a:lnTo>
                    <a:lnTo>
                      <a:pt x="150" y="37"/>
                    </a:lnTo>
                    <a:lnTo>
                      <a:pt x="151" y="37"/>
                    </a:lnTo>
                    <a:lnTo>
                      <a:pt x="153" y="37"/>
                    </a:lnTo>
                    <a:lnTo>
                      <a:pt x="154" y="36"/>
                    </a:lnTo>
                    <a:lnTo>
                      <a:pt x="154" y="35"/>
                    </a:lnTo>
                    <a:lnTo>
                      <a:pt x="155" y="35"/>
                    </a:lnTo>
                    <a:lnTo>
                      <a:pt x="155" y="34"/>
                    </a:lnTo>
                    <a:lnTo>
                      <a:pt x="156" y="33"/>
                    </a:lnTo>
                    <a:lnTo>
                      <a:pt x="156" y="31"/>
                    </a:lnTo>
                    <a:lnTo>
                      <a:pt x="157" y="29"/>
                    </a:lnTo>
                    <a:lnTo>
                      <a:pt x="157" y="27"/>
                    </a:lnTo>
                    <a:lnTo>
                      <a:pt x="158" y="26"/>
                    </a:lnTo>
                    <a:lnTo>
                      <a:pt x="158" y="25"/>
                    </a:lnTo>
                    <a:lnTo>
                      <a:pt x="159" y="24"/>
                    </a:lnTo>
                    <a:lnTo>
                      <a:pt x="160" y="23"/>
                    </a:lnTo>
                    <a:lnTo>
                      <a:pt x="160" y="23"/>
                    </a:lnTo>
                    <a:lnTo>
                      <a:pt x="161" y="22"/>
                    </a:lnTo>
                    <a:lnTo>
                      <a:pt x="162" y="22"/>
                    </a:lnTo>
                    <a:lnTo>
                      <a:pt x="163" y="22"/>
                    </a:lnTo>
                    <a:lnTo>
                      <a:pt x="164" y="22"/>
                    </a:lnTo>
                    <a:lnTo>
                      <a:pt x="165" y="22"/>
                    </a:lnTo>
                    <a:lnTo>
                      <a:pt x="165" y="22"/>
                    </a:lnTo>
                    <a:lnTo>
                      <a:pt x="166" y="22"/>
                    </a:lnTo>
                    <a:lnTo>
                      <a:pt x="167" y="21"/>
                    </a:lnTo>
                    <a:lnTo>
                      <a:pt x="168" y="20"/>
                    </a:lnTo>
                    <a:lnTo>
                      <a:pt x="169" y="20"/>
                    </a:lnTo>
                    <a:lnTo>
                      <a:pt x="170" y="19"/>
                    </a:lnTo>
                    <a:lnTo>
                      <a:pt x="171" y="19"/>
                    </a:lnTo>
                    <a:lnTo>
                      <a:pt x="171" y="19"/>
                    </a:lnTo>
                    <a:lnTo>
                      <a:pt x="171" y="20"/>
                    </a:lnTo>
                    <a:lnTo>
                      <a:pt x="171" y="22"/>
                    </a:lnTo>
                    <a:lnTo>
                      <a:pt x="171" y="23"/>
                    </a:lnTo>
                    <a:lnTo>
                      <a:pt x="171" y="24"/>
                    </a:lnTo>
                    <a:lnTo>
                      <a:pt x="171" y="24"/>
                    </a:lnTo>
                    <a:lnTo>
                      <a:pt x="172" y="25"/>
                    </a:lnTo>
                    <a:lnTo>
                      <a:pt x="172" y="25"/>
                    </a:lnTo>
                    <a:lnTo>
                      <a:pt x="172" y="26"/>
                    </a:lnTo>
                    <a:lnTo>
                      <a:pt x="173" y="26"/>
                    </a:lnTo>
                    <a:lnTo>
                      <a:pt x="173" y="27"/>
                    </a:lnTo>
                    <a:lnTo>
                      <a:pt x="174" y="27"/>
                    </a:lnTo>
                    <a:lnTo>
                      <a:pt x="175" y="27"/>
                    </a:lnTo>
                    <a:lnTo>
                      <a:pt x="175" y="27"/>
                    </a:lnTo>
                    <a:lnTo>
                      <a:pt x="176" y="27"/>
                    </a:lnTo>
                    <a:lnTo>
                      <a:pt x="177" y="27"/>
                    </a:lnTo>
                    <a:lnTo>
                      <a:pt x="178" y="27"/>
                    </a:lnTo>
                    <a:lnTo>
                      <a:pt x="179" y="27"/>
                    </a:lnTo>
                    <a:lnTo>
                      <a:pt x="180" y="27"/>
                    </a:lnTo>
                    <a:lnTo>
                      <a:pt x="181" y="27"/>
                    </a:lnTo>
                    <a:lnTo>
                      <a:pt x="181" y="26"/>
                    </a:lnTo>
                    <a:lnTo>
                      <a:pt x="182" y="26"/>
                    </a:lnTo>
                    <a:lnTo>
                      <a:pt x="182" y="26"/>
                    </a:lnTo>
                    <a:lnTo>
                      <a:pt x="183" y="25"/>
                    </a:lnTo>
                    <a:lnTo>
                      <a:pt x="183" y="25"/>
                    </a:lnTo>
                    <a:lnTo>
                      <a:pt x="184" y="24"/>
                    </a:lnTo>
                    <a:lnTo>
                      <a:pt x="184" y="23"/>
                    </a:lnTo>
                    <a:lnTo>
                      <a:pt x="184" y="23"/>
                    </a:lnTo>
                    <a:lnTo>
                      <a:pt x="184" y="22"/>
                    </a:lnTo>
                    <a:lnTo>
                      <a:pt x="185" y="21"/>
                    </a:lnTo>
                    <a:lnTo>
                      <a:pt x="185" y="20"/>
                    </a:lnTo>
                    <a:lnTo>
                      <a:pt x="186" y="20"/>
                    </a:lnTo>
                    <a:lnTo>
                      <a:pt x="187" y="20"/>
                    </a:lnTo>
                    <a:lnTo>
                      <a:pt x="187" y="20"/>
                    </a:lnTo>
                    <a:lnTo>
                      <a:pt x="188" y="20"/>
                    </a:lnTo>
                    <a:lnTo>
                      <a:pt x="189" y="19"/>
                    </a:lnTo>
                    <a:lnTo>
                      <a:pt x="189" y="19"/>
                    </a:lnTo>
                    <a:lnTo>
                      <a:pt x="190" y="18"/>
                    </a:lnTo>
                    <a:lnTo>
                      <a:pt x="190" y="18"/>
                    </a:lnTo>
                    <a:lnTo>
                      <a:pt x="191" y="16"/>
                    </a:lnTo>
                    <a:lnTo>
                      <a:pt x="191" y="16"/>
                    </a:lnTo>
                    <a:lnTo>
                      <a:pt x="192" y="15"/>
                    </a:lnTo>
                    <a:lnTo>
                      <a:pt x="192" y="15"/>
                    </a:lnTo>
                    <a:lnTo>
                      <a:pt x="193" y="14"/>
                    </a:lnTo>
                    <a:lnTo>
                      <a:pt x="194" y="14"/>
                    </a:lnTo>
                    <a:lnTo>
                      <a:pt x="195" y="14"/>
                    </a:lnTo>
                    <a:lnTo>
                      <a:pt x="196" y="13"/>
                    </a:lnTo>
                    <a:lnTo>
                      <a:pt x="197" y="12"/>
                    </a:lnTo>
                    <a:lnTo>
                      <a:pt x="198" y="11"/>
                    </a:lnTo>
                    <a:lnTo>
                      <a:pt x="199" y="10"/>
                    </a:lnTo>
                    <a:lnTo>
                      <a:pt x="201" y="8"/>
                    </a:lnTo>
                    <a:lnTo>
                      <a:pt x="204" y="6"/>
                    </a:lnTo>
                    <a:lnTo>
                      <a:pt x="205" y="5"/>
                    </a:lnTo>
                    <a:lnTo>
                      <a:pt x="206" y="5"/>
                    </a:lnTo>
                    <a:lnTo>
                      <a:pt x="207" y="4"/>
                    </a:lnTo>
                    <a:lnTo>
                      <a:pt x="209" y="3"/>
                    </a:lnTo>
                    <a:lnTo>
                      <a:pt x="210" y="2"/>
                    </a:lnTo>
                    <a:lnTo>
                      <a:pt x="211" y="1"/>
                    </a:lnTo>
                    <a:lnTo>
                      <a:pt x="213" y="1"/>
                    </a:lnTo>
                    <a:lnTo>
                      <a:pt x="215" y="0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1" name="Freeform 9"/>
              <p:cNvSpPr>
                <a:spLocks/>
              </p:cNvSpPr>
              <p:nvPr/>
            </p:nvSpPr>
            <p:spPr bwMode="auto">
              <a:xfrm>
                <a:off x="335604" y="3099460"/>
                <a:ext cx="1815126" cy="1177394"/>
              </a:xfrm>
              <a:custGeom>
                <a:avLst/>
                <a:gdLst/>
                <a:ahLst/>
                <a:cxnLst>
                  <a:cxn ang="0">
                    <a:pos x="142" y="5"/>
                  </a:cxn>
                  <a:cxn ang="0">
                    <a:pos x="152" y="18"/>
                  </a:cxn>
                  <a:cxn ang="0">
                    <a:pos x="160" y="17"/>
                  </a:cxn>
                  <a:cxn ang="0">
                    <a:pos x="164" y="26"/>
                  </a:cxn>
                  <a:cxn ang="0">
                    <a:pos x="163" y="42"/>
                  </a:cxn>
                  <a:cxn ang="0">
                    <a:pos x="167" y="48"/>
                  </a:cxn>
                  <a:cxn ang="0">
                    <a:pos x="162" y="56"/>
                  </a:cxn>
                  <a:cxn ang="0">
                    <a:pos x="161" y="77"/>
                  </a:cxn>
                  <a:cxn ang="0">
                    <a:pos x="177" y="89"/>
                  </a:cxn>
                  <a:cxn ang="0">
                    <a:pos x="183" y="104"/>
                  </a:cxn>
                  <a:cxn ang="0">
                    <a:pos x="177" y="109"/>
                  </a:cxn>
                  <a:cxn ang="0">
                    <a:pos x="162" y="97"/>
                  </a:cxn>
                  <a:cxn ang="0">
                    <a:pos x="157" y="99"/>
                  </a:cxn>
                  <a:cxn ang="0">
                    <a:pos x="141" y="95"/>
                  </a:cxn>
                  <a:cxn ang="0">
                    <a:pos x="123" y="98"/>
                  </a:cxn>
                  <a:cxn ang="0">
                    <a:pos x="116" y="93"/>
                  </a:cxn>
                  <a:cxn ang="0">
                    <a:pos x="118" y="88"/>
                  </a:cxn>
                  <a:cxn ang="0">
                    <a:pos x="117" y="80"/>
                  </a:cxn>
                  <a:cxn ang="0">
                    <a:pos x="115" y="69"/>
                  </a:cxn>
                  <a:cxn ang="0">
                    <a:pos x="110" y="65"/>
                  </a:cxn>
                  <a:cxn ang="0">
                    <a:pos x="103" y="63"/>
                  </a:cxn>
                  <a:cxn ang="0">
                    <a:pos x="98" y="66"/>
                  </a:cxn>
                  <a:cxn ang="0">
                    <a:pos x="94" y="65"/>
                  </a:cxn>
                  <a:cxn ang="0">
                    <a:pos x="90" y="63"/>
                  </a:cxn>
                  <a:cxn ang="0">
                    <a:pos x="87" y="59"/>
                  </a:cxn>
                  <a:cxn ang="0">
                    <a:pos x="83" y="57"/>
                  </a:cxn>
                  <a:cxn ang="0">
                    <a:pos x="80" y="55"/>
                  </a:cxn>
                  <a:cxn ang="0">
                    <a:pos x="70" y="55"/>
                  </a:cxn>
                  <a:cxn ang="0">
                    <a:pos x="65" y="58"/>
                  </a:cxn>
                  <a:cxn ang="0">
                    <a:pos x="60" y="59"/>
                  </a:cxn>
                  <a:cxn ang="0">
                    <a:pos x="55" y="60"/>
                  </a:cxn>
                  <a:cxn ang="0">
                    <a:pos x="50" y="62"/>
                  </a:cxn>
                  <a:cxn ang="0">
                    <a:pos x="42" y="65"/>
                  </a:cxn>
                  <a:cxn ang="0">
                    <a:pos x="27" y="65"/>
                  </a:cxn>
                  <a:cxn ang="0">
                    <a:pos x="20" y="60"/>
                  </a:cxn>
                  <a:cxn ang="0">
                    <a:pos x="24" y="58"/>
                  </a:cxn>
                  <a:cxn ang="0">
                    <a:pos x="30" y="60"/>
                  </a:cxn>
                  <a:cxn ang="0">
                    <a:pos x="29" y="51"/>
                  </a:cxn>
                  <a:cxn ang="0">
                    <a:pos x="28" y="42"/>
                  </a:cxn>
                  <a:cxn ang="0">
                    <a:pos x="26" y="34"/>
                  </a:cxn>
                  <a:cxn ang="0">
                    <a:pos x="23" y="27"/>
                  </a:cxn>
                  <a:cxn ang="0">
                    <a:pos x="16" y="20"/>
                  </a:cxn>
                  <a:cxn ang="0">
                    <a:pos x="11" y="18"/>
                  </a:cxn>
                  <a:cxn ang="0">
                    <a:pos x="7" y="16"/>
                  </a:cxn>
                  <a:cxn ang="0">
                    <a:pos x="2" y="17"/>
                  </a:cxn>
                  <a:cxn ang="0">
                    <a:pos x="0" y="11"/>
                  </a:cxn>
                  <a:cxn ang="0">
                    <a:pos x="2" y="5"/>
                  </a:cxn>
                  <a:cxn ang="0">
                    <a:pos x="16" y="7"/>
                  </a:cxn>
                  <a:cxn ang="0">
                    <a:pos x="27" y="6"/>
                  </a:cxn>
                  <a:cxn ang="0">
                    <a:pos x="46" y="13"/>
                  </a:cxn>
                  <a:cxn ang="0">
                    <a:pos x="60" y="14"/>
                  </a:cxn>
                  <a:cxn ang="0">
                    <a:pos x="69" y="8"/>
                  </a:cxn>
                  <a:cxn ang="0">
                    <a:pos x="86" y="5"/>
                  </a:cxn>
                  <a:cxn ang="0">
                    <a:pos x="100" y="4"/>
                  </a:cxn>
                  <a:cxn ang="0">
                    <a:pos x="105" y="7"/>
                  </a:cxn>
                  <a:cxn ang="0">
                    <a:pos x="113" y="16"/>
                  </a:cxn>
                  <a:cxn ang="0">
                    <a:pos x="120" y="9"/>
                  </a:cxn>
                  <a:cxn ang="0">
                    <a:pos x="123" y="3"/>
                  </a:cxn>
                  <a:cxn ang="0">
                    <a:pos x="133" y="2"/>
                  </a:cxn>
                </a:cxnLst>
                <a:rect l="0" t="0" r="r" b="b"/>
                <a:pathLst>
                  <a:path w="183" h="110">
                    <a:moveTo>
                      <a:pt x="138" y="2"/>
                    </a:moveTo>
                    <a:lnTo>
                      <a:pt x="138" y="2"/>
                    </a:lnTo>
                    <a:lnTo>
                      <a:pt x="138" y="2"/>
                    </a:lnTo>
                    <a:lnTo>
                      <a:pt x="138" y="3"/>
                    </a:lnTo>
                    <a:lnTo>
                      <a:pt x="138" y="3"/>
                    </a:lnTo>
                    <a:lnTo>
                      <a:pt x="139" y="3"/>
                    </a:lnTo>
                    <a:lnTo>
                      <a:pt x="140" y="4"/>
                    </a:lnTo>
                    <a:lnTo>
                      <a:pt x="140" y="4"/>
                    </a:lnTo>
                    <a:lnTo>
                      <a:pt x="141" y="4"/>
                    </a:lnTo>
                    <a:lnTo>
                      <a:pt x="142" y="4"/>
                    </a:lnTo>
                    <a:lnTo>
                      <a:pt x="142" y="5"/>
                    </a:lnTo>
                    <a:lnTo>
                      <a:pt x="143" y="5"/>
                    </a:lnTo>
                    <a:lnTo>
                      <a:pt x="144" y="6"/>
                    </a:lnTo>
                    <a:lnTo>
                      <a:pt x="145" y="7"/>
                    </a:lnTo>
                    <a:lnTo>
                      <a:pt x="146" y="9"/>
                    </a:lnTo>
                    <a:lnTo>
                      <a:pt x="146" y="10"/>
                    </a:lnTo>
                    <a:lnTo>
                      <a:pt x="148" y="12"/>
                    </a:lnTo>
                    <a:lnTo>
                      <a:pt x="148" y="14"/>
                    </a:lnTo>
                    <a:lnTo>
                      <a:pt x="149" y="15"/>
                    </a:lnTo>
                    <a:lnTo>
                      <a:pt x="150" y="16"/>
                    </a:lnTo>
                    <a:lnTo>
                      <a:pt x="151" y="17"/>
                    </a:lnTo>
                    <a:lnTo>
                      <a:pt x="152" y="18"/>
                    </a:lnTo>
                    <a:lnTo>
                      <a:pt x="152" y="18"/>
                    </a:lnTo>
                    <a:lnTo>
                      <a:pt x="153" y="18"/>
                    </a:lnTo>
                    <a:lnTo>
                      <a:pt x="153" y="18"/>
                    </a:lnTo>
                    <a:lnTo>
                      <a:pt x="154" y="18"/>
                    </a:lnTo>
                    <a:lnTo>
                      <a:pt x="154" y="17"/>
                    </a:lnTo>
                    <a:lnTo>
                      <a:pt x="155" y="17"/>
                    </a:lnTo>
                    <a:lnTo>
                      <a:pt x="156" y="17"/>
                    </a:lnTo>
                    <a:lnTo>
                      <a:pt x="157" y="17"/>
                    </a:lnTo>
                    <a:lnTo>
                      <a:pt x="158" y="17"/>
                    </a:lnTo>
                    <a:lnTo>
                      <a:pt x="159" y="17"/>
                    </a:lnTo>
                    <a:lnTo>
                      <a:pt x="160" y="17"/>
                    </a:lnTo>
                    <a:lnTo>
                      <a:pt x="161" y="18"/>
                    </a:lnTo>
                    <a:lnTo>
                      <a:pt x="162" y="18"/>
                    </a:lnTo>
                    <a:lnTo>
                      <a:pt x="163" y="19"/>
                    </a:lnTo>
                    <a:lnTo>
                      <a:pt x="164" y="19"/>
                    </a:lnTo>
                    <a:lnTo>
                      <a:pt x="165" y="20"/>
                    </a:lnTo>
                    <a:lnTo>
                      <a:pt x="165" y="20"/>
                    </a:lnTo>
                    <a:lnTo>
                      <a:pt x="166" y="21"/>
                    </a:lnTo>
                    <a:lnTo>
                      <a:pt x="166" y="21"/>
                    </a:lnTo>
                    <a:lnTo>
                      <a:pt x="166" y="22"/>
                    </a:lnTo>
                    <a:lnTo>
                      <a:pt x="165" y="24"/>
                    </a:lnTo>
                    <a:lnTo>
                      <a:pt x="164" y="26"/>
                    </a:lnTo>
                    <a:lnTo>
                      <a:pt x="164" y="28"/>
                    </a:lnTo>
                    <a:lnTo>
                      <a:pt x="163" y="30"/>
                    </a:lnTo>
                    <a:lnTo>
                      <a:pt x="163" y="31"/>
                    </a:lnTo>
                    <a:lnTo>
                      <a:pt x="163" y="32"/>
                    </a:lnTo>
                    <a:lnTo>
                      <a:pt x="163" y="33"/>
                    </a:lnTo>
                    <a:lnTo>
                      <a:pt x="162" y="35"/>
                    </a:lnTo>
                    <a:lnTo>
                      <a:pt x="162" y="36"/>
                    </a:lnTo>
                    <a:lnTo>
                      <a:pt x="162" y="37"/>
                    </a:lnTo>
                    <a:lnTo>
                      <a:pt x="163" y="39"/>
                    </a:lnTo>
                    <a:lnTo>
                      <a:pt x="163" y="40"/>
                    </a:lnTo>
                    <a:lnTo>
                      <a:pt x="163" y="42"/>
                    </a:lnTo>
                    <a:lnTo>
                      <a:pt x="163" y="42"/>
                    </a:lnTo>
                    <a:lnTo>
                      <a:pt x="163" y="43"/>
                    </a:lnTo>
                    <a:lnTo>
                      <a:pt x="164" y="43"/>
                    </a:lnTo>
                    <a:lnTo>
                      <a:pt x="164" y="44"/>
                    </a:lnTo>
                    <a:lnTo>
                      <a:pt x="165" y="45"/>
                    </a:lnTo>
                    <a:lnTo>
                      <a:pt x="166" y="46"/>
                    </a:lnTo>
                    <a:lnTo>
                      <a:pt x="166" y="46"/>
                    </a:lnTo>
                    <a:lnTo>
                      <a:pt x="166" y="47"/>
                    </a:lnTo>
                    <a:lnTo>
                      <a:pt x="167" y="47"/>
                    </a:lnTo>
                    <a:lnTo>
                      <a:pt x="167" y="48"/>
                    </a:lnTo>
                    <a:lnTo>
                      <a:pt x="167" y="48"/>
                    </a:lnTo>
                    <a:lnTo>
                      <a:pt x="167" y="49"/>
                    </a:lnTo>
                    <a:lnTo>
                      <a:pt x="167" y="49"/>
                    </a:lnTo>
                    <a:lnTo>
                      <a:pt x="166" y="50"/>
                    </a:lnTo>
                    <a:lnTo>
                      <a:pt x="166" y="51"/>
                    </a:lnTo>
                    <a:lnTo>
                      <a:pt x="165" y="51"/>
                    </a:lnTo>
                    <a:lnTo>
                      <a:pt x="164" y="52"/>
                    </a:lnTo>
                    <a:lnTo>
                      <a:pt x="164" y="53"/>
                    </a:lnTo>
                    <a:lnTo>
                      <a:pt x="163" y="54"/>
                    </a:lnTo>
                    <a:lnTo>
                      <a:pt x="163" y="54"/>
                    </a:lnTo>
                    <a:lnTo>
                      <a:pt x="163" y="55"/>
                    </a:lnTo>
                    <a:lnTo>
                      <a:pt x="162" y="56"/>
                    </a:lnTo>
                    <a:lnTo>
                      <a:pt x="162" y="58"/>
                    </a:lnTo>
                    <a:lnTo>
                      <a:pt x="161" y="59"/>
                    </a:lnTo>
                    <a:lnTo>
                      <a:pt x="161" y="61"/>
                    </a:lnTo>
                    <a:lnTo>
                      <a:pt x="161" y="62"/>
                    </a:lnTo>
                    <a:lnTo>
                      <a:pt x="161" y="64"/>
                    </a:lnTo>
                    <a:lnTo>
                      <a:pt x="161" y="66"/>
                    </a:lnTo>
                    <a:lnTo>
                      <a:pt x="161" y="68"/>
                    </a:lnTo>
                    <a:lnTo>
                      <a:pt x="161" y="70"/>
                    </a:lnTo>
                    <a:lnTo>
                      <a:pt x="161" y="72"/>
                    </a:lnTo>
                    <a:lnTo>
                      <a:pt x="161" y="75"/>
                    </a:lnTo>
                    <a:lnTo>
                      <a:pt x="161" y="77"/>
                    </a:lnTo>
                    <a:lnTo>
                      <a:pt x="161" y="80"/>
                    </a:lnTo>
                    <a:lnTo>
                      <a:pt x="163" y="81"/>
                    </a:lnTo>
                    <a:lnTo>
                      <a:pt x="164" y="82"/>
                    </a:lnTo>
                    <a:lnTo>
                      <a:pt x="165" y="83"/>
                    </a:lnTo>
                    <a:lnTo>
                      <a:pt x="167" y="84"/>
                    </a:lnTo>
                    <a:lnTo>
                      <a:pt x="168" y="84"/>
                    </a:lnTo>
                    <a:lnTo>
                      <a:pt x="170" y="85"/>
                    </a:lnTo>
                    <a:lnTo>
                      <a:pt x="173" y="87"/>
                    </a:lnTo>
                    <a:lnTo>
                      <a:pt x="174" y="87"/>
                    </a:lnTo>
                    <a:lnTo>
                      <a:pt x="176" y="88"/>
                    </a:lnTo>
                    <a:lnTo>
                      <a:pt x="177" y="89"/>
                    </a:lnTo>
                    <a:lnTo>
                      <a:pt x="179" y="90"/>
                    </a:lnTo>
                    <a:lnTo>
                      <a:pt x="180" y="91"/>
                    </a:lnTo>
                    <a:lnTo>
                      <a:pt x="181" y="92"/>
                    </a:lnTo>
                    <a:lnTo>
                      <a:pt x="182" y="94"/>
                    </a:lnTo>
                    <a:lnTo>
                      <a:pt x="183" y="95"/>
                    </a:lnTo>
                    <a:lnTo>
                      <a:pt x="183" y="96"/>
                    </a:lnTo>
                    <a:lnTo>
                      <a:pt x="183" y="97"/>
                    </a:lnTo>
                    <a:lnTo>
                      <a:pt x="183" y="99"/>
                    </a:lnTo>
                    <a:lnTo>
                      <a:pt x="183" y="101"/>
                    </a:lnTo>
                    <a:lnTo>
                      <a:pt x="183" y="103"/>
                    </a:lnTo>
                    <a:lnTo>
                      <a:pt x="183" y="104"/>
                    </a:lnTo>
                    <a:lnTo>
                      <a:pt x="183" y="105"/>
                    </a:lnTo>
                    <a:lnTo>
                      <a:pt x="183" y="106"/>
                    </a:lnTo>
                    <a:lnTo>
                      <a:pt x="183" y="107"/>
                    </a:lnTo>
                    <a:lnTo>
                      <a:pt x="182" y="108"/>
                    </a:lnTo>
                    <a:lnTo>
                      <a:pt x="182" y="109"/>
                    </a:lnTo>
                    <a:lnTo>
                      <a:pt x="182" y="109"/>
                    </a:lnTo>
                    <a:lnTo>
                      <a:pt x="181" y="110"/>
                    </a:lnTo>
                    <a:lnTo>
                      <a:pt x="180" y="110"/>
                    </a:lnTo>
                    <a:lnTo>
                      <a:pt x="179" y="110"/>
                    </a:lnTo>
                    <a:lnTo>
                      <a:pt x="178" y="110"/>
                    </a:lnTo>
                    <a:lnTo>
                      <a:pt x="177" y="109"/>
                    </a:lnTo>
                    <a:lnTo>
                      <a:pt x="175" y="109"/>
                    </a:lnTo>
                    <a:lnTo>
                      <a:pt x="174" y="108"/>
                    </a:lnTo>
                    <a:lnTo>
                      <a:pt x="172" y="107"/>
                    </a:lnTo>
                    <a:lnTo>
                      <a:pt x="171" y="107"/>
                    </a:lnTo>
                    <a:lnTo>
                      <a:pt x="169" y="106"/>
                    </a:lnTo>
                    <a:lnTo>
                      <a:pt x="168" y="105"/>
                    </a:lnTo>
                    <a:lnTo>
                      <a:pt x="167" y="103"/>
                    </a:lnTo>
                    <a:lnTo>
                      <a:pt x="166" y="102"/>
                    </a:lnTo>
                    <a:lnTo>
                      <a:pt x="165" y="101"/>
                    </a:lnTo>
                    <a:lnTo>
                      <a:pt x="164" y="100"/>
                    </a:lnTo>
                    <a:lnTo>
                      <a:pt x="162" y="97"/>
                    </a:lnTo>
                    <a:lnTo>
                      <a:pt x="161" y="96"/>
                    </a:lnTo>
                    <a:lnTo>
                      <a:pt x="160" y="95"/>
                    </a:lnTo>
                    <a:lnTo>
                      <a:pt x="159" y="95"/>
                    </a:lnTo>
                    <a:lnTo>
                      <a:pt x="159" y="95"/>
                    </a:lnTo>
                    <a:lnTo>
                      <a:pt x="158" y="95"/>
                    </a:lnTo>
                    <a:lnTo>
                      <a:pt x="158" y="96"/>
                    </a:lnTo>
                    <a:lnTo>
                      <a:pt x="158" y="96"/>
                    </a:lnTo>
                    <a:lnTo>
                      <a:pt x="158" y="97"/>
                    </a:lnTo>
                    <a:lnTo>
                      <a:pt x="157" y="98"/>
                    </a:lnTo>
                    <a:lnTo>
                      <a:pt x="157" y="98"/>
                    </a:lnTo>
                    <a:lnTo>
                      <a:pt x="157" y="99"/>
                    </a:lnTo>
                    <a:lnTo>
                      <a:pt x="156" y="99"/>
                    </a:lnTo>
                    <a:lnTo>
                      <a:pt x="156" y="100"/>
                    </a:lnTo>
                    <a:lnTo>
                      <a:pt x="156" y="100"/>
                    </a:lnTo>
                    <a:lnTo>
                      <a:pt x="155" y="100"/>
                    </a:lnTo>
                    <a:lnTo>
                      <a:pt x="155" y="100"/>
                    </a:lnTo>
                    <a:lnTo>
                      <a:pt x="151" y="99"/>
                    </a:lnTo>
                    <a:lnTo>
                      <a:pt x="148" y="98"/>
                    </a:lnTo>
                    <a:lnTo>
                      <a:pt x="146" y="97"/>
                    </a:lnTo>
                    <a:lnTo>
                      <a:pt x="144" y="96"/>
                    </a:lnTo>
                    <a:lnTo>
                      <a:pt x="143" y="96"/>
                    </a:lnTo>
                    <a:lnTo>
                      <a:pt x="141" y="95"/>
                    </a:lnTo>
                    <a:lnTo>
                      <a:pt x="139" y="96"/>
                    </a:lnTo>
                    <a:lnTo>
                      <a:pt x="136" y="97"/>
                    </a:lnTo>
                    <a:lnTo>
                      <a:pt x="135" y="97"/>
                    </a:lnTo>
                    <a:lnTo>
                      <a:pt x="134" y="97"/>
                    </a:lnTo>
                    <a:lnTo>
                      <a:pt x="132" y="98"/>
                    </a:lnTo>
                    <a:lnTo>
                      <a:pt x="131" y="98"/>
                    </a:lnTo>
                    <a:lnTo>
                      <a:pt x="129" y="98"/>
                    </a:lnTo>
                    <a:lnTo>
                      <a:pt x="128" y="98"/>
                    </a:lnTo>
                    <a:lnTo>
                      <a:pt x="126" y="98"/>
                    </a:lnTo>
                    <a:lnTo>
                      <a:pt x="125" y="98"/>
                    </a:lnTo>
                    <a:lnTo>
                      <a:pt x="123" y="98"/>
                    </a:lnTo>
                    <a:lnTo>
                      <a:pt x="121" y="98"/>
                    </a:lnTo>
                    <a:lnTo>
                      <a:pt x="120" y="98"/>
                    </a:lnTo>
                    <a:lnTo>
                      <a:pt x="118" y="98"/>
                    </a:lnTo>
                    <a:lnTo>
                      <a:pt x="118" y="97"/>
                    </a:lnTo>
                    <a:lnTo>
                      <a:pt x="117" y="97"/>
                    </a:lnTo>
                    <a:lnTo>
                      <a:pt x="117" y="96"/>
                    </a:lnTo>
                    <a:lnTo>
                      <a:pt x="117" y="95"/>
                    </a:lnTo>
                    <a:lnTo>
                      <a:pt x="116" y="95"/>
                    </a:lnTo>
                    <a:lnTo>
                      <a:pt x="116" y="94"/>
                    </a:lnTo>
                    <a:lnTo>
                      <a:pt x="116" y="93"/>
                    </a:lnTo>
                    <a:lnTo>
                      <a:pt x="116" y="93"/>
                    </a:lnTo>
                    <a:lnTo>
                      <a:pt x="116" y="92"/>
                    </a:lnTo>
                    <a:lnTo>
                      <a:pt x="116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89"/>
                    </a:lnTo>
                    <a:lnTo>
                      <a:pt x="118" y="89"/>
                    </a:lnTo>
                    <a:lnTo>
                      <a:pt x="118" y="88"/>
                    </a:lnTo>
                    <a:lnTo>
                      <a:pt x="118" y="87"/>
                    </a:lnTo>
                    <a:lnTo>
                      <a:pt x="118" y="85"/>
                    </a:lnTo>
                    <a:lnTo>
                      <a:pt x="118" y="83"/>
                    </a:lnTo>
                    <a:lnTo>
                      <a:pt x="118" y="82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18" y="80"/>
                    </a:lnTo>
                    <a:lnTo>
                      <a:pt x="117" y="80"/>
                    </a:lnTo>
                    <a:lnTo>
                      <a:pt x="117" y="80"/>
                    </a:lnTo>
                    <a:lnTo>
                      <a:pt x="117" y="80"/>
                    </a:lnTo>
                    <a:lnTo>
                      <a:pt x="116" y="80"/>
                    </a:lnTo>
                    <a:lnTo>
                      <a:pt x="116" y="77"/>
                    </a:lnTo>
                    <a:lnTo>
                      <a:pt x="116" y="76"/>
                    </a:lnTo>
                    <a:lnTo>
                      <a:pt x="116" y="75"/>
                    </a:lnTo>
                    <a:lnTo>
                      <a:pt x="116" y="74"/>
                    </a:lnTo>
                    <a:lnTo>
                      <a:pt x="116" y="73"/>
                    </a:lnTo>
                    <a:lnTo>
                      <a:pt x="116" y="72"/>
                    </a:lnTo>
                    <a:lnTo>
                      <a:pt x="116" y="71"/>
                    </a:lnTo>
                    <a:lnTo>
                      <a:pt x="116" y="70"/>
                    </a:lnTo>
                    <a:lnTo>
                      <a:pt x="115" y="70"/>
                    </a:lnTo>
                    <a:lnTo>
                      <a:pt x="115" y="69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3" y="67"/>
                    </a:lnTo>
                    <a:lnTo>
                      <a:pt x="112" y="67"/>
                    </a:lnTo>
                    <a:lnTo>
                      <a:pt x="111" y="67"/>
                    </a:lnTo>
                    <a:lnTo>
                      <a:pt x="111" y="66"/>
                    </a:lnTo>
                    <a:lnTo>
                      <a:pt x="111" y="66"/>
                    </a:lnTo>
                    <a:lnTo>
                      <a:pt x="111" y="65"/>
                    </a:lnTo>
                    <a:lnTo>
                      <a:pt x="111" y="65"/>
                    </a:lnTo>
                    <a:lnTo>
                      <a:pt x="111" y="65"/>
                    </a:lnTo>
                    <a:lnTo>
                      <a:pt x="110" y="65"/>
                    </a:lnTo>
                    <a:lnTo>
                      <a:pt x="110" y="65"/>
                    </a:lnTo>
                    <a:lnTo>
                      <a:pt x="110" y="65"/>
                    </a:lnTo>
                    <a:lnTo>
                      <a:pt x="109" y="65"/>
                    </a:lnTo>
                    <a:lnTo>
                      <a:pt x="108" y="65"/>
                    </a:lnTo>
                    <a:lnTo>
                      <a:pt x="107" y="64"/>
                    </a:lnTo>
                    <a:lnTo>
                      <a:pt x="106" y="64"/>
                    </a:lnTo>
                    <a:lnTo>
                      <a:pt x="105" y="64"/>
                    </a:lnTo>
                    <a:lnTo>
                      <a:pt x="104" y="63"/>
                    </a:lnTo>
                    <a:lnTo>
                      <a:pt x="104" y="63"/>
                    </a:lnTo>
                    <a:lnTo>
                      <a:pt x="103" y="63"/>
                    </a:lnTo>
                    <a:lnTo>
                      <a:pt x="103" y="63"/>
                    </a:lnTo>
                    <a:lnTo>
                      <a:pt x="102" y="63"/>
                    </a:lnTo>
                    <a:lnTo>
                      <a:pt x="101" y="64"/>
                    </a:lnTo>
                    <a:lnTo>
                      <a:pt x="101" y="64"/>
                    </a:lnTo>
                    <a:lnTo>
                      <a:pt x="100" y="64"/>
                    </a:lnTo>
                    <a:lnTo>
                      <a:pt x="100" y="65"/>
                    </a:lnTo>
                    <a:lnTo>
                      <a:pt x="99" y="65"/>
                    </a:lnTo>
                    <a:lnTo>
                      <a:pt x="99" y="65"/>
                    </a:lnTo>
                    <a:lnTo>
                      <a:pt x="99" y="65"/>
                    </a:lnTo>
                    <a:lnTo>
                      <a:pt x="98" y="65"/>
                    </a:lnTo>
                    <a:lnTo>
                      <a:pt x="98" y="65"/>
                    </a:lnTo>
                    <a:lnTo>
                      <a:pt x="98" y="66"/>
                    </a:lnTo>
                    <a:lnTo>
                      <a:pt x="98" y="66"/>
                    </a:lnTo>
                    <a:lnTo>
                      <a:pt x="98" y="67"/>
                    </a:lnTo>
                    <a:lnTo>
                      <a:pt x="97" y="67"/>
                    </a:lnTo>
                    <a:lnTo>
                      <a:pt x="96" y="67"/>
                    </a:lnTo>
                    <a:lnTo>
                      <a:pt x="96" y="67"/>
                    </a:lnTo>
                    <a:lnTo>
                      <a:pt x="95" y="67"/>
                    </a:lnTo>
                    <a:lnTo>
                      <a:pt x="95" y="66"/>
                    </a:lnTo>
                    <a:lnTo>
                      <a:pt x="95" y="66"/>
                    </a:lnTo>
                    <a:lnTo>
                      <a:pt x="95" y="65"/>
                    </a:lnTo>
                    <a:lnTo>
                      <a:pt x="94" y="65"/>
                    </a:lnTo>
                    <a:lnTo>
                      <a:pt x="94" y="65"/>
                    </a:lnTo>
                    <a:lnTo>
                      <a:pt x="94" y="65"/>
                    </a:lnTo>
                    <a:lnTo>
                      <a:pt x="93" y="65"/>
                    </a:lnTo>
                    <a:lnTo>
                      <a:pt x="93" y="65"/>
                    </a:lnTo>
                    <a:lnTo>
                      <a:pt x="93" y="65"/>
                    </a:lnTo>
                    <a:lnTo>
                      <a:pt x="92" y="65"/>
                    </a:lnTo>
                    <a:lnTo>
                      <a:pt x="92" y="64"/>
                    </a:lnTo>
                    <a:lnTo>
                      <a:pt x="91" y="64"/>
                    </a:lnTo>
                    <a:lnTo>
                      <a:pt x="91" y="64"/>
                    </a:lnTo>
                    <a:lnTo>
                      <a:pt x="90" y="63"/>
                    </a:lnTo>
                    <a:lnTo>
                      <a:pt x="90" y="63"/>
                    </a:lnTo>
                    <a:lnTo>
                      <a:pt x="90" y="63"/>
                    </a:lnTo>
                    <a:lnTo>
                      <a:pt x="90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8" y="62"/>
                    </a:lnTo>
                    <a:lnTo>
                      <a:pt x="88" y="62"/>
                    </a:lnTo>
                    <a:lnTo>
                      <a:pt x="88" y="61"/>
                    </a:lnTo>
                    <a:lnTo>
                      <a:pt x="88" y="60"/>
                    </a:lnTo>
                    <a:lnTo>
                      <a:pt x="87" y="60"/>
                    </a:lnTo>
                    <a:lnTo>
                      <a:pt x="87" y="59"/>
                    </a:lnTo>
                    <a:lnTo>
                      <a:pt x="86" y="59"/>
                    </a:lnTo>
                    <a:lnTo>
                      <a:pt x="86" y="59"/>
                    </a:lnTo>
                    <a:lnTo>
                      <a:pt x="85" y="59"/>
                    </a:lnTo>
                    <a:lnTo>
                      <a:pt x="85" y="58"/>
                    </a:lnTo>
                    <a:lnTo>
                      <a:pt x="85" y="58"/>
                    </a:lnTo>
                    <a:lnTo>
                      <a:pt x="85" y="58"/>
                    </a:lnTo>
                    <a:lnTo>
                      <a:pt x="85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3" y="57"/>
                    </a:lnTo>
                    <a:lnTo>
                      <a:pt x="83" y="57"/>
                    </a:lnTo>
                    <a:lnTo>
                      <a:pt x="83" y="57"/>
                    </a:lnTo>
                    <a:lnTo>
                      <a:pt x="82" y="57"/>
                    </a:lnTo>
                    <a:lnTo>
                      <a:pt x="82" y="57"/>
                    </a:lnTo>
                    <a:lnTo>
                      <a:pt x="81" y="57"/>
                    </a:lnTo>
                    <a:lnTo>
                      <a:pt x="82" y="56"/>
                    </a:lnTo>
                    <a:lnTo>
                      <a:pt x="81" y="56"/>
                    </a:lnTo>
                    <a:lnTo>
                      <a:pt x="81" y="55"/>
                    </a:lnTo>
                    <a:lnTo>
                      <a:pt x="81" y="55"/>
                    </a:lnTo>
                    <a:lnTo>
                      <a:pt x="81" y="55"/>
                    </a:lnTo>
                    <a:lnTo>
                      <a:pt x="80" y="55"/>
                    </a:lnTo>
                    <a:lnTo>
                      <a:pt x="80" y="55"/>
                    </a:lnTo>
                    <a:lnTo>
                      <a:pt x="80" y="55"/>
                    </a:lnTo>
                    <a:lnTo>
                      <a:pt x="78" y="55"/>
                    </a:lnTo>
                    <a:lnTo>
                      <a:pt x="76" y="55"/>
                    </a:lnTo>
                    <a:lnTo>
                      <a:pt x="74" y="55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0" y="55"/>
                    </a:lnTo>
                    <a:lnTo>
                      <a:pt x="70" y="55"/>
                    </a:lnTo>
                    <a:lnTo>
                      <a:pt x="70" y="55"/>
                    </a:lnTo>
                    <a:lnTo>
                      <a:pt x="70" y="56"/>
                    </a:lnTo>
                    <a:lnTo>
                      <a:pt x="70" y="56"/>
                    </a:lnTo>
                    <a:lnTo>
                      <a:pt x="70" y="57"/>
                    </a:lnTo>
                    <a:lnTo>
                      <a:pt x="69" y="56"/>
                    </a:lnTo>
                    <a:lnTo>
                      <a:pt x="68" y="56"/>
                    </a:lnTo>
                    <a:lnTo>
                      <a:pt x="68" y="56"/>
                    </a:lnTo>
                    <a:lnTo>
                      <a:pt x="67" y="56"/>
                    </a:lnTo>
                    <a:lnTo>
                      <a:pt x="67" y="56"/>
                    </a:lnTo>
                    <a:lnTo>
                      <a:pt x="66" y="57"/>
                    </a:lnTo>
                    <a:lnTo>
                      <a:pt x="65" y="57"/>
                    </a:lnTo>
                    <a:lnTo>
                      <a:pt x="65" y="58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2" y="58"/>
                    </a:lnTo>
                    <a:lnTo>
                      <a:pt x="61" y="58"/>
                    </a:lnTo>
                    <a:lnTo>
                      <a:pt x="61" y="58"/>
                    </a:lnTo>
                    <a:lnTo>
                      <a:pt x="61" y="58"/>
                    </a:lnTo>
                    <a:lnTo>
                      <a:pt x="60" y="58"/>
                    </a:lnTo>
                    <a:lnTo>
                      <a:pt x="60" y="59"/>
                    </a:lnTo>
                    <a:lnTo>
                      <a:pt x="60" y="59"/>
                    </a:lnTo>
                    <a:lnTo>
                      <a:pt x="60" y="59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9" y="60"/>
                    </a:lnTo>
                    <a:lnTo>
                      <a:pt x="58" y="60"/>
                    </a:lnTo>
                    <a:lnTo>
                      <a:pt x="57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5" y="60"/>
                    </a:lnTo>
                    <a:lnTo>
                      <a:pt x="55" y="60"/>
                    </a:lnTo>
                    <a:lnTo>
                      <a:pt x="55" y="60"/>
                    </a:lnTo>
                    <a:lnTo>
                      <a:pt x="55" y="61"/>
                    </a:lnTo>
                    <a:lnTo>
                      <a:pt x="55" y="61"/>
                    </a:lnTo>
                    <a:lnTo>
                      <a:pt x="55" y="62"/>
                    </a:lnTo>
                    <a:lnTo>
                      <a:pt x="54" y="62"/>
                    </a:lnTo>
                    <a:lnTo>
                      <a:pt x="53" y="62"/>
                    </a:lnTo>
                    <a:lnTo>
                      <a:pt x="52" y="62"/>
                    </a:lnTo>
                    <a:lnTo>
                      <a:pt x="51" y="62"/>
                    </a:lnTo>
                    <a:lnTo>
                      <a:pt x="51" y="61"/>
                    </a:lnTo>
                    <a:lnTo>
                      <a:pt x="51" y="61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49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5" y="65"/>
                    </a:lnTo>
                    <a:lnTo>
                      <a:pt x="43" y="65"/>
                    </a:lnTo>
                    <a:lnTo>
                      <a:pt x="42" y="65"/>
                    </a:lnTo>
                    <a:lnTo>
                      <a:pt x="39" y="65"/>
                    </a:lnTo>
                    <a:lnTo>
                      <a:pt x="36" y="65"/>
                    </a:lnTo>
                    <a:lnTo>
                      <a:pt x="35" y="65"/>
                    </a:lnTo>
                    <a:lnTo>
                      <a:pt x="33" y="65"/>
                    </a:lnTo>
                    <a:lnTo>
                      <a:pt x="32" y="65"/>
                    </a:lnTo>
                    <a:lnTo>
                      <a:pt x="30" y="66"/>
                    </a:lnTo>
                    <a:lnTo>
                      <a:pt x="29" y="66"/>
                    </a:lnTo>
                    <a:lnTo>
                      <a:pt x="28" y="67"/>
                    </a:lnTo>
                    <a:lnTo>
                      <a:pt x="28" y="66"/>
                    </a:lnTo>
                    <a:lnTo>
                      <a:pt x="28" y="65"/>
                    </a:lnTo>
                    <a:lnTo>
                      <a:pt x="27" y="65"/>
                    </a:lnTo>
                    <a:lnTo>
                      <a:pt x="27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5" y="64"/>
                    </a:lnTo>
                    <a:lnTo>
                      <a:pt x="25" y="63"/>
                    </a:lnTo>
                    <a:lnTo>
                      <a:pt x="24" y="63"/>
                    </a:lnTo>
                    <a:lnTo>
                      <a:pt x="23" y="62"/>
                    </a:lnTo>
                    <a:lnTo>
                      <a:pt x="22" y="62"/>
                    </a:lnTo>
                    <a:lnTo>
                      <a:pt x="21" y="61"/>
                    </a:lnTo>
                    <a:lnTo>
                      <a:pt x="21" y="61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9"/>
                    </a:lnTo>
                    <a:lnTo>
                      <a:pt x="20" y="59"/>
                    </a:lnTo>
                    <a:lnTo>
                      <a:pt x="20" y="58"/>
                    </a:lnTo>
                    <a:lnTo>
                      <a:pt x="20" y="57"/>
                    </a:lnTo>
                    <a:lnTo>
                      <a:pt x="20" y="57"/>
                    </a:lnTo>
                    <a:lnTo>
                      <a:pt x="21" y="57"/>
                    </a:lnTo>
                    <a:lnTo>
                      <a:pt x="21" y="57"/>
                    </a:lnTo>
                    <a:lnTo>
                      <a:pt x="22" y="57"/>
                    </a:lnTo>
                    <a:lnTo>
                      <a:pt x="23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5" y="59"/>
                    </a:lnTo>
                    <a:lnTo>
                      <a:pt x="26" y="59"/>
                    </a:lnTo>
                    <a:lnTo>
                      <a:pt x="26" y="60"/>
                    </a:lnTo>
                    <a:lnTo>
                      <a:pt x="27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9" y="60"/>
                    </a:lnTo>
                    <a:lnTo>
                      <a:pt x="29" y="60"/>
                    </a:lnTo>
                    <a:lnTo>
                      <a:pt x="29" y="60"/>
                    </a:lnTo>
                    <a:lnTo>
                      <a:pt x="30" y="60"/>
                    </a:lnTo>
                    <a:lnTo>
                      <a:pt x="30" y="59"/>
                    </a:lnTo>
                    <a:lnTo>
                      <a:pt x="31" y="59"/>
                    </a:lnTo>
                    <a:lnTo>
                      <a:pt x="31" y="59"/>
                    </a:lnTo>
                    <a:lnTo>
                      <a:pt x="31" y="58"/>
                    </a:lnTo>
                    <a:lnTo>
                      <a:pt x="31" y="57"/>
                    </a:lnTo>
                    <a:lnTo>
                      <a:pt x="31" y="56"/>
                    </a:lnTo>
                    <a:lnTo>
                      <a:pt x="31" y="55"/>
                    </a:lnTo>
                    <a:lnTo>
                      <a:pt x="31" y="54"/>
                    </a:lnTo>
                    <a:lnTo>
                      <a:pt x="31" y="53"/>
                    </a:lnTo>
                    <a:lnTo>
                      <a:pt x="30" y="52"/>
                    </a:lnTo>
                    <a:lnTo>
                      <a:pt x="29" y="51"/>
                    </a:lnTo>
                    <a:lnTo>
                      <a:pt x="29" y="50"/>
                    </a:lnTo>
                    <a:lnTo>
                      <a:pt x="29" y="49"/>
                    </a:lnTo>
                    <a:lnTo>
                      <a:pt x="28" y="49"/>
                    </a:lnTo>
                    <a:lnTo>
                      <a:pt x="28" y="48"/>
                    </a:lnTo>
                    <a:lnTo>
                      <a:pt x="28" y="47"/>
                    </a:lnTo>
                    <a:lnTo>
                      <a:pt x="28" y="46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26" y="42"/>
                    </a:lnTo>
                    <a:lnTo>
                      <a:pt x="26" y="40"/>
                    </a:lnTo>
                    <a:lnTo>
                      <a:pt x="26" y="38"/>
                    </a:lnTo>
                    <a:lnTo>
                      <a:pt x="26" y="37"/>
                    </a:lnTo>
                    <a:lnTo>
                      <a:pt x="26" y="35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3"/>
                    </a:lnTo>
                    <a:lnTo>
                      <a:pt x="25" y="33"/>
                    </a:lnTo>
                    <a:lnTo>
                      <a:pt x="25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3" y="32"/>
                    </a:lnTo>
                    <a:lnTo>
                      <a:pt x="23" y="30"/>
                    </a:lnTo>
                    <a:lnTo>
                      <a:pt x="23" y="29"/>
                    </a:lnTo>
                    <a:lnTo>
                      <a:pt x="23" y="28"/>
                    </a:lnTo>
                    <a:lnTo>
                      <a:pt x="23" y="27"/>
                    </a:lnTo>
                    <a:lnTo>
                      <a:pt x="23" y="26"/>
                    </a:lnTo>
                    <a:lnTo>
                      <a:pt x="22" y="25"/>
                    </a:lnTo>
                    <a:lnTo>
                      <a:pt x="22" y="24"/>
                    </a:lnTo>
                    <a:lnTo>
                      <a:pt x="21" y="23"/>
                    </a:lnTo>
                    <a:lnTo>
                      <a:pt x="21" y="23"/>
                    </a:lnTo>
                    <a:lnTo>
                      <a:pt x="20" y="22"/>
                    </a:lnTo>
                    <a:lnTo>
                      <a:pt x="19" y="22"/>
                    </a:lnTo>
                    <a:lnTo>
                      <a:pt x="18" y="21"/>
                    </a:lnTo>
                    <a:lnTo>
                      <a:pt x="18" y="21"/>
                    </a:lnTo>
                    <a:lnTo>
                      <a:pt x="17" y="20"/>
                    </a:lnTo>
                    <a:lnTo>
                      <a:pt x="16" y="20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5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3" y="19"/>
                    </a:lnTo>
                    <a:lnTo>
                      <a:pt x="13" y="18"/>
                    </a:lnTo>
                    <a:lnTo>
                      <a:pt x="12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1" y="17"/>
                    </a:lnTo>
                    <a:lnTo>
                      <a:pt x="10" y="17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6" y="16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4" y="17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6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13" y="5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4" y="6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5" y="7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8" y="7"/>
                    </a:lnTo>
                    <a:lnTo>
                      <a:pt x="19" y="7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1" y="6"/>
                    </a:lnTo>
                    <a:lnTo>
                      <a:pt x="21" y="7"/>
                    </a:lnTo>
                    <a:lnTo>
                      <a:pt x="23" y="6"/>
                    </a:lnTo>
                    <a:lnTo>
                      <a:pt x="25" y="6"/>
                    </a:lnTo>
                    <a:lnTo>
                      <a:pt x="26" y="6"/>
                    </a:lnTo>
                    <a:lnTo>
                      <a:pt x="27" y="6"/>
                    </a:lnTo>
                    <a:lnTo>
                      <a:pt x="29" y="7"/>
                    </a:lnTo>
                    <a:lnTo>
                      <a:pt x="30" y="7"/>
                    </a:lnTo>
                    <a:lnTo>
                      <a:pt x="31" y="7"/>
                    </a:lnTo>
                    <a:lnTo>
                      <a:pt x="32" y="7"/>
                    </a:lnTo>
                    <a:lnTo>
                      <a:pt x="34" y="8"/>
                    </a:lnTo>
                    <a:lnTo>
                      <a:pt x="36" y="9"/>
                    </a:lnTo>
                    <a:lnTo>
                      <a:pt x="38" y="10"/>
                    </a:lnTo>
                    <a:lnTo>
                      <a:pt x="40" y="11"/>
                    </a:lnTo>
                    <a:lnTo>
                      <a:pt x="42" y="11"/>
                    </a:lnTo>
                    <a:lnTo>
                      <a:pt x="44" y="12"/>
                    </a:lnTo>
                    <a:lnTo>
                      <a:pt x="46" y="13"/>
                    </a:lnTo>
                    <a:lnTo>
                      <a:pt x="48" y="14"/>
                    </a:lnTo>
                    <a:lnTo>
                      <a:pt x="49" y="14"/>
                    </a:lnTo>
                    <a:lnTo>
                      <a:pt x="50" y="14"/>
                    </a:lnTo>
                    <a:lnTo>
                      <a:pt x="51" y="15"/>
                    </a:lnTo>
                    <a:lnTo>
                      <a:pt x="53" y="15"/>
                    </a:lnTo>
                    <a:lnTo>
                      <a:pt x="54" y="15"/>
                    </a:lnTo>
                    <a:lnTo>
                      <a:pt x="55" y="15"/>
                    </a:lnTo>
                    <a:lnTo>
                      <a:pt x="56" y="15"/>
                    </a:lnTo>
                    <a:lnTo>
                      <a:pt x="58" y="15"/>
                    </a:lnTo>
                    <a:lnTo>
                      <a:pt x="59" y="15"/>
                    </a:lnTo>
                    <a:lnTo>
                      <a:pt x="60" y="14"/>
                    </a:lnTo>
                    <a:lnTo>
                      <a:pt x="61" y="14"/>
                    </a:lnTo>
                    <a:lnTo>
                      <a:pt x="61" y="14"/>
                    </a:lnTo>
                    <a:lnTo>
                      <a:pt x="62" y="13"/>
                    </a:lnTo>
                    <a:lnTo>
                      <a:pt x="63" y="13"/>
                    </a:lnTo>
                    <a:lnTo>
                      <a:pt x="64" y="12"/>
                    </a:lnTo>
                    <a:lnTo>
                      <a:pt x="65" y="10"/>
                    </a:lnTo>
                    <a:lnTo>
                      <a:pt x="65" y="10"/>
                    </a:lnTo>
                    <a:lnTo>
                      <a:pt x="66" y="9"/>
                    </a:lnTo>
                    <a:lnTo>
                      <a:pt x="67" y="9"/>
                    </a:lnTo>
                    <a:lnTo>
                      <a:pt x="68" y="9"/>
                    </a:lnTo>
                    <a:lnTo>
                      <a:pt x="69" y="8"/>
                    </a:lnTo>
                    <a:lnTo>
                      <a:pt x="70" y="8"/>
                    </a:lnTo>
                    <a:lnTo>
                      <a:pt x="73" y="8"/>
                    </a:lnTo>
                    <a:lnTo>
                      <a:pt x="76" y="8"/>
                    </a:lnTo>
                    <a:lnTo>
                      <a:pt x="78" y="8"/>
                    </a:lnTo>
                    <a:lnTo>
                      <a:pt x="81" y="8"/>
                    </a:lnTo>
                    <a:lnTo>
                      <a:pt x="82" y="7"/>
                    </a:lnTo>
                    <a:lnTo>
                      <a:pt x="83" y="7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5" y="5"/>
                    </a:lnTo>
                    <a:lnTo>
                      <a:pt x="86" y="5"/>
                    </a:lnTo>
                    <a:lnTo>
                      <a:pt x="87" y="4"/>
                    </a:lnTo>
                    <a:lnTo>
                      <a:pt x="88" y="4"/>
                    </a:lnTo>
                    <a:lnTo>
                      <a:pt x="90" y="3"/>
                    </a:lnTo>
                    <a:lnTo>
                      <a:pt x="91" y="3"/>
                    </a:lnTo>
                    <a:lnTo>
                      <a:pt x="92" y="3"/>
                    </a:lnTo>
                    <a:lnTo>
                      <a:pt x="94" y="3"/>
                    </a:lnTo>
                    <a:lnTo>
                      <a:pt x="95" y="3"/>
                    </a:lnTo>
                    <a:lnTo>
                      <a:pt x="97" y="3"/>
                    </a:lnTo>
                    <a:lnTo>
                      <a:pt x="98" y="3"/>
                    </a:lnTo>
                    <a:lnTo>
                      <a:pt x="100" y="3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2" y="5"/>
                    </a:lnTo>
                    <a:lnTo>
                      <a:pt x="103" y="6"/>
                    </a:lnTo>
                    <a:lnTo>
                      <a:pt x="104" y="6"/>
                    </a:lnTo>
                    <a:lnTo>
                      <a:pt x="105" y="7"/>
                    </a:lnTo>
                    <a:lnTo>
                      <a:pt x="106" y="8"/>
                    </a:lnTo>
                    <a:lnTo>
                      <a:pt x="107" y="10"/>
                    </a:lnTo>
                    <a:lnTo>
                      <a:pt x="108" y="11"/>
                    </a:lnTo>
                    <a:lnTo>
                      <a:pt x="110" y="13"/>
                    </a:lnTo>
                    <a:lnTo>
                      <a:pt x="110" y="13"/>
                    </a:lnTo>
                    <a:lnTo>
                      <a:pt x="111" y="14"/>
                    </a:lnTo>
                    <a:lnTo>
                      <a:pt x="112" y="14"/>
                    </a:lnTo>
                    <a:lnTo>
                      <a:pt x="113" y="15"/>
                    </a:lnTo>
                    <a:lnTo>
                      <a:pt x="113" y="15"/>
                    </a:lnTo>
                    <a:lnTo>
                      <a:pt x="113" y="15"/>
                    </a:lnTo>
                    <a:lnTo>
                      <a:pt x="113" y="16"/>
                    </a:lnTo>
                    <a:lnTo>
                      <a:pt x="113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5" y="16"/>
                    </a:lnTo>
                    <a:lnTo>
                      <a:pt x="115" y="15"/>
                    </a:lnTo>
                    <a:lnTo>
                      <a:pt x="115" y="15"/>
                    </a:lnTo>
                    <a:lnTo>
                      <a:pt x="116" y="13"/>
                    </a:lnTo>
                    <a:lnTo>
                      <a:pt x="118" y="11"/>
                    </a:lnTo>
                    <a:lnTo>
                      <a:pt x="120" y="9"/>
                    </a:lnTo>
                    <a:lnTo>
                      <a:pt x="121" y="7"/>
                    </a:lnTo>
                    <a:lnTo>
                      <a:pt x="122" y="7"/>
                    </a:lnTo>
                    <a:lnTo>
                      <a:pt x="122" y="7"/>
                    </a:lnTo>
                    <a:lnTo>
                      <a:pt x="122" y="6"/>
                    </a:lnTo>
                    <a:lnTo>
                      <a:pt x="123" y="6"/>
                    </a:lnTo>
                    <a:lnTo>
                      <a:pt x="123" y="6"/>
                    </a:lnTo>
                    <a:lnTo>
                      <a:pt x="123" y="6"/>
                    </a:lnTo>
                    <a:lnTo>
                      <a:pt x="123" y="5"/>
                    </a:lnTo>
                    <a:lnTo>
                      <a:pt x="123" y="5"/>
                    </a:lnTo>
                    <a:lnTo>
                      <a:pt x="123" y="4"/>
                    </a:lnTo>
                    <a:lnTo>
                      <a:pt x="123" y="3"/>
                    </a:lnTo>
                    <a:lnTo>
                      <a:pt x="124" y="2"/>
                    </a:lnTo>
                    <a:lnTo>
                      <a:pt x="124" y="2"/>
                    </a:lnTo>
                    <a:lnTo>
                      <a:pt x="124" y="1"/>
                    </a:lnTo>
                    <a:lnTo>
                      <a:pt x="125" y="1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28" y="0"/>
                    </a:lnTo>
                    <a:lnTo>
                      <a:pt x="129" y="1"/>
                    </a:lnTo>
                    <a:lnTo>
                      <a:pt x="130" y="1"/>
                    </a:lnTo>
                    <a:lnTo>
                      <a:pt x="131" y="1"/>
                    </a:lnTo>
                    <a:lnTo>
                      <a:pt x="133" y="2"/>
                    </a:lnTo>
                    <a:lnTo>
                      <a:pt x="134" y="2"/>
                    </a:lnTo>
                    <a:lnTo>
                      <a:pt x="134" y="2"/>
                    </a:lnTo>
                    <a:lnTo>
                      <a:pt x="135" y="2"/>
                    </a:lnTo>
                    <a:lnTo>
                      <a:pt x="136" y="2"/>
                    </a:lnTo>
                    <a:lnTo>
                      <a:pt x="137" y="2"/>
                    </a:lnTo>
                    <a:lnTo>
                      <a:pt x="138" y="2"/>
                    </a:ln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Freeform 10"/>
              <p:cNvSpPr>
                <a:spLocks/>
              </p:cNvSpPr>
              <p:nvPr/>
            </p:nvSpPr>
            <p:spPr bwMode="auto">
              <a:xfrm>
                <a:off x="5869478" y="3826105"/>
                <a:ext cx="1905885" cy="1552690"/>
              </a:xfrm>
              <a:custGeom>
                <a:avLst/>
                <a:gdLst/>
                <a:ahLst/>
                <a:cxnLst>
                  <a:cxn ang="0">
                    <a:pos x="142" y="6"/>
                  </a:cxn>
                  <a:cxn ang="0">
                    <a:pos x="161" y="6"/>
                  </a:cxn>
                  <a:cxn ang="0">
                    <a:pos x="176" y="26"/>
                  </a:cxn>
                  <a:cxn ang="0">
                    <a:pos x="181" y="32"/>
                  </a:cxn>
                  <a:cxn ang="0">
                    <a:pos x="186" y="35"/>
                  </a:cxn>
                  <a:cxn ang="0">
                    <a:pos x="185" y="43"/>
                  </a:cxn>
                  <a:cxn ang="0">
                    <a:pos x="191" y="44"/>
                  </a:cxn>
                  <a:cxn ang="0">
                    <a:pos x="191" y="49"/>
                  </a:cxn>
                  <a:cxn ang="0">
                    <a:pos x="189" y="49"/>
                  </a:cxn>
                  <a:cxn ang="0">
                    <a:pos x="186" y="48"/>
                  </a:cxn>
                  <a:cxn ang="0">
                    <a:pos x="183" y="50"/>
                  </a:cxn>
                  <a:cxn ang="0">
                    <a:pos x="178" y="50"/>
                  </a:cxn>
                  <a:cxn ang="0">
                    <a:pos x="173" y="47"/>
                  </a:cxn>
                  <a:cxn ang="0">
                    <a:pos x="168" y="49"/>
                  </a:cxn>
                  <a:cxn ang="0">
                    <a:pos x="163" y="51"/>
                  </a:cxn>
                  <a:cxn ang="0">
                    <a:pos x="158" y="53"/>
                  </a:cxn>
                  <a:cxn ang="0">
                    <a:pos x="155" y="55"/>
                  </a:cxn>
                  <a:cxn ang="0">
                    <a:pos x="151" y="56"/>
                  </a:cxn>
                  <a:cxn ang="0">
                    <a:pos x="148" y="58"/>
                  </a:cxn>
                  <a:cxn ang="0">
                    <a:pos x="139" y="64"/>
                  </a:cxn>
                  <a:cxn ang="0">
                    <a:pos x="137" y="68"/>
                  </a:cxn>
                  <a:cxn ang="0">
                    <a:pos x="140" y="74"/>
                  </a:cxn>
                  <a:cxn ang="0">
                    <a:pos x="148" y="75"/>
                  </a:cxn>
                  <a:cxn ang="0">
                    <a:pos x="146" y="79"/>
                  </a:cxn>
                  <a:cxn ang="0">
                    <a:pos x="148" y="87"/>
                  </a:cxn>
                  <a:cxn ang="0">
                    <a:pos x="155" y="102"/>
                  </a:cxn>
                  <a:cxn ang="0">
                    <a:pos x="158" y="106"/>
                  </a:cxn>
                  <a:cxn ang="0">
                    <a:pos x="161" y="110"/>
                  </a:cxn>
                  <a:cxn ang="0">
                    <a:pos x="162" y="118"/>
                  </a:cxn>
                  <a:cxn ang="0">
                    <a:pos x="164" y="120"/>
                  </a:cxn>
                  <a:cxn ang="0">
                    <a:pos x="157" y="123"/>
                  </a:cxn>
                  <a:cxn ang="0">
                    <a:pos x="158" y="129"/>
                  </a:cxn>
                  <a:cxn ang="0">
                    <a:pos x="154" y="130"/>
                  </a:cxn>
                  <a:cxn ang="0">
                    <a:pos x="153" y="137"/>
                  </a:cxn>
                  <a:cxn ang="0">
                    <a:pos x="156" y="145"/>
                  </a:cxn>
                  <a:cxn ang="0">
                    <a:pos x="151" y="144"/>
                  </a:cxn>
                  <a:cxn ang="0">
                    <a:pos x="144" y="142"/>
                  </a:cxn>
                  <a:cxn ang="0">
                    <a:pos x="133" y="139"/>
                  </a:cxn>
                  <a:cxn ang="0">
                    <a:pos x="118" y="137"/>
                  </a:cxn>
                  <a:cxn ang="0">
                    <a:pos x="105" y="137"/>
                  </a:cxn>
                  <a:cxn ang="0">
                    <a:pos x="92" y="137"/>
                  </a:cxn>
                  <a:cxn ang="0">
                    <a:pos x="83" y="137"/>
                  </a:cxn>
                  <a:cxn ang="0">
                    <a:pos x="75" y="138"/>
                  </a:cxn>
                  <a:cxn ang="0">
                    <a:pos x="72" y="139"/>
                  </a:cxn>
                  <a:cxn ang="0">
                    <a:pos x="66" y="140"/>
                  </a:cxn>
                  <a:cxn ang="0">
                    <a:pos x="54" y="142"/>
                  </a:cxn>
                  <a:cxn ang="0">
                    <a:pos x="50" y="144"/>
                  </a:cxn>
                  <a:cxn ang="0">
                    <a:pos x="44" y="143"/>
                  </a:cxn>
                  <a:cxn ang="0">
                    <a:pos x="39" y="128"/>
                  </a:cxn>
                  <a:cxn ang="0">
                    <a:pos x="30" y="106"/>
                  </a:cxn>
                  <a:cxn ang="0">
                    <a:pos x="11" y="91"/>
                  </a:cxn>
                  <a:cxn ang="0">
                    <a:pos x="0" y="69"/>
                  </a:cxn>
                  <a:cxn ang="0">
                    <a:pos x="2" y="48"/>
                  </a:cxn>
                  <a:cxn ang="0">
                    <a:pos x="14" y="34"/>
                  </a:cxn>
                  <a:cxn ang="0">
                    <a:pos x="67" y="24"/>
                  </a:cxn>
                  <a:cxn ang="0">
                    <a:pos x="74" y="15"/>
                  </a:cxn>
                  <a:cxn ang="0">
                    <a:pos x="76" y="7"/>
                  </a:cxn>
                  <a:cxn ang="0">
                    <a:pos x="87" y="0"/>
                  </a:cxn>
                  <a:cxn ang="0">
                    <a:pos x="109" y="3"/>
                  </a:cxn>
                  <a:cxn ang="0">
                    <a:pos x="121" y="4"/>
                  </a:cxn>
                  <a:cxn ang="0">
                    <a:pos x="125" y="3"/>
                  </a:cxn>
                </a:cxnLst>
                <a:rect l="0" t="0" r="r" b="b"/>
                <a:pathLst>
                  <a:path w="192" h="145">
                    <a:moveTo>
                      <a:pt x="127" y="2"/>
                    </a:moveTo>
                    <a:lnTo>
                      <a:pt x="127" y="2"/>
                    </a:lnTo>
                    <a:lnTo>
                      <a:pt x="127" y="2"/>
                    </a:lnTo>
                    <a:lnTo>
                      <a:pt x="128" y="2"/>
                    </a:lnTo>
                    <a:lnTo>
                      <a:pt x="128" y="2"/>
                    </a:lnTo>
                    <a:lnTo>
                      <a:pt x="129" y="2"/>
                    </a:lnTo>
                    <a:lnTo>
                      <a:pt x="130" y="2"/>
                    </a:lnTo>
                    <a:lnTo>
                      <a:pt x="134" y="4"/>
                    </a:lnTo>
                    <a:lnTo>
                      <a:pt x="136" y="4"/>
                    </a:lnTo>
                    <a:lnTo>
                      <a:pt x="138" y="5"/>
                    </a:lnTo>
                    <a:lnTo>
                      <a:pt x="140" y="6"/>
                    </a:lnTo>
                    <a:lnTo>
                      <a:pt x="142" y="6"/>
                    </a:lnTo>
                    <a:lnTo>
                      <a:pt x="144" y="7"/>
                    </a:lnTo>
                    <a:lnTo>
                      <a:pt x="146" y="7"/>
                    </a:lnTo>
                    <a:lnTo>
                      <a:pt x="149" y="8"/>
                    </a:lnTo>
                    <a:lnTo>
                      <a:pt x="151" y="8"/>
                    </a:lnTo>
                    <a:lnTo>
                      <a:pt x="153" y="8"/>
                    </a:lnTo>
                    <a:lnTo>
                      <a:pt x="155" y="8"/>
                    </a:lnTo>
                    <a:lnTo>
                      <a:pt x="156" y="8"/>
                    </a:lnTo>
                    <a:lnTo>
                      <a:pt x="157" y="7"/>
                    </a:lnTo>
                    <a:lnTo>
                      <a:pt x="158" y="7"/>
                    </a:lnTo>
                    <a:lnTo>
                      <a:pt x="159" y="7"/>
                    </a:lnTo>
                    <a:lnTo>
                      <a:pt x="160" y="7"/>
                    </a:lnTo>
                    <a:lnTo>
                      <a:pt x="161" y="6"/>
                    </a:lnTo>
                    <a:lnTo>
                      <a:pt x="162" y="6"/>
                    </a:lnTo>
                    <a:lnTo>
                      <a:pt x="163" y="6"/>
                    </a:lnTo>
                    <a:lnTo>
                      <a:pt x="164" y="7"/>
                    </a:lnTo>
                    <a:lnTo>
                      <a:pt x="165" y="9"/>
                    </a:lnTo>
                    <a:lnTo>
                      <a:pt x="165" y="10"/>
                    </a:lnTo>
                    <a:lnTo>
                      <a:pt x="166" y="12"/>
                    </a:lnTo>
                    <a:lnTo>
                      <a:pt x="167" y="14"/>
                    </a:lnTo>
                    <a:lnTo>
                      <a:pt x="168" y="15"/>
                    </a:lnTo>
                    <a:lnTo>
                      <a:pt x="170" y="18"/>
                    </a:lnTo>
                    <a:lnTo>
                      <a:pt x="172" y="21"/>
                    </a:lnTo>
                    <a:lnTo>
                      <a:pt x="174" y="24"/>
                    </a:lnTo>
                    <a:lnTo>
                      <a:pt x="176" y="26"/>
                    </a:lnTo>
                    <a:lnTo>
                      <a:pt x="178" y="29"/>
                    </a:lnTo>
                    <a:lnTo>
                      <a:pt x="178" y="29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9" y="30"/>
                    </a:lnTo>
                    <a:lnTo>
                      <a:pt x="179" y="30"/>
                    </a:lnTo>
                    <a:lnTo>
                      <a:pt x="179" y="30"/>
                    </a:lnTo>
                    <a:lnTo>
                      <a:pt x="180" y="31"/>
                    </a:lnTo>
                    <a:lnTo>
                      <a:pt x="180" y="31"/>
                    </a:lnTo>
                    <a:lnTo>
                      <a:pt x="180" y="32"/>
                    </a:lnTo>
                    <a:lnTo>
                      <a:pt x="181" y="32"/>
                    </a:lnTo>
                    <a:lnTo>
                      <a:pt x="181" y="33"/>
                    </a:lnTo>
                    <a:lnTo>
                      <a:pt x="182" y="33"/>
                    </a:lnTo>
                    <a:lnTo>
                      <a:pt x="183" y="34"/>
                    </a:lnTo>
                    <a:lnTo>
                      <a:pt x="184" y="34"/>
                    </a:lnTo>
                    <a:lnTo>
                      <a:pt x="185" y="34"/>
                    </a:lnTo>
                    <a:lnTo>
                      <a:pt x="185" y="34"/>
                    </a:lnTo>
                    <a:lnTo>
                      <a:pt x="185" y="34"/>
                    </a:lnTo>
                    <a:lnTo>
                      <a:pt x="185" y="35"/>
                    </a:lnTo>
                    <a:lnTo>
                      <a:pt x="185" y="35"/>
                    </a:lnTo>
                    <a:lnTo>
                      <a:pt x="185" y="35"/>
                    </a:lnTo>
                    <a:lnTo>
                      <a:pt x="186" y="35"/>
                    </a:lnTo>
                    <a:lnTo>
                      <a:pt x="186" y="35"/>
                    </a:lnTo>
                    <a:lnTo>
                      <a:pt x="186" y="35"/>
                    </a:lnTo>
                    <a:lnTo>
                      <a:pt x="187" y="35"/>
                    </a:lnTo>
                    <a:lnTo>
                      <a:pt x="187" y="37"/>
                    </a:lnTo>
                    <a:lnTo>
                      <a:pt x="187" y="39"/>
                    </a:lnTo>
                    <a:lnTo>
                      <a:pt x="187" y="41"/>
                    </a:lnTo>
                    <a:lnTo>
                      <a:pt x="187" y="42"/>
                    </a:lnTo>
                    <a:lnTo>
                      <a:pt x="186" y="42"/>
                    </a:lnTo>
                    <a:lnTo>
                      <a:pt x="186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6" y="43"/>
                    </a:lnTo>
                    <a:lnTo>
                      <a:pt x="186" y="44"/>
                    </a:lnTo>
                    <a:lnTo>
                      <a:pt x="186" y="44"/>
                    </a:lnTo>
                    <a:lnTo>
                      <a:pt x="187" y="44"/>
                    </a:lnTo>
                    <a:lnTo>
                      <a:pt x="188" y="44"/>
                    </a:lnTo>
                    <a:lnTo>
                      <a:pt x="189" y="44"/>
                    </a:lnTo>
                    <a:lnTo>
                      <a:pt x="190" y="44"/>
                    </a:lnTo>
                    <a:lnTo>
                      <a:pt x="190" y="44"/>
                    </a:lnTo>
                    <a:lnTo>
                      <a:pt x="191" y="44"/>
                    </a:lnTo>
                    <a:lnTo>
                      <a:pt x="191" y="44"/>
                    </a:lnTo>
                    <a:lnTo>
                      <a:pt x="192" y="44"/>
                    </a:lnTo>
                    <a:lnTo>
                      <a:pt x="192" y="45"/>
                    </a:lnTo>
                    <a:lnTo>
                      <a:pt x="192" y="45"/>
                    </a:lnTo>
                    <a:lnTo>
                      <a:pt x="192" y="45"/>
                    </a:lnTo>
                    <a:lnTo>
                      <a:pt x="192" y="46"/>
                    </a:lnTo>
                    <a:lnTo>
                      <a:pt x="192" y="46"/>
                    </a:lnTo>
                    <a:lnTo>
                      <a:pt x="192" y="46"/>
                    </a:lnTo>
                    <a:lnTo>
                      <a:pt x="192" y="47"/>
                    </a:lnTo>
                    <a:lnTo>
                      <a:pt x="191" y="47"/>
                    </a:lnTo>
                    <a:lnTo>
                      <a:pt x="191" y="48"/>
                    </a:lnTo>
                    <a:lnTo>
                      <a:pt x="191" y="49"/>
                    </a:lnTo>
                    <a:lnTo>
                      <a:pt x="191" y="49"/>
                    </a:lnTo>
                    <a:lnTo>
                      <a:pt x="191" y="50"/>
                    </a:lnTo>
                    <a:lnTo>
                      <a:pt x="191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49"/>
                    </a:lnTo>
                    <a:lnTo>
                      <a:pt x="189" y="49"/>
                    </a:lnTo>
                    <a:lnTo>
                      <a:pt x="189" y="49"/>
                    </a:lnTo>
                    <a:lnTo>
                      <a:pt x="189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7" y="49"/>
                    </a:lnTo>
                    <a:lnTo>
                      <a:pt x="187" y="49"/>
                    </a:lnTo>
                    <a:lnTo>
                      <a:pt x="187" y="49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9"/>
                    </a:lnTo>
                    <a:lnTo>
                      <a:pt x="184" y="49"/>
                    </a:lnTo>
                    <a:lnTo>
                      <a:pt x="184" y="49"/>
                    </a:lnTo>
                    <a:lnTo>
                      <a:pt x="184" y="49"/>
                    </a:lnTo>
                    <a:lnTo>
                      <a:pt x="183" y="49"/>
                    </a:lnTo>
                    <a:lnTo>
                      <a:pt x="183" y="50"/>
                    </a:lnTo>
                    <a:lnTo>
                      <a:pt x="182" y="50"/>
                    </a:lnTo>
                    <a:lnTo>
                      <a:pt x="181" y="50"/>
                    </a:lnTo>
                    <a:lnTo>
                      <a:pt x="181" y="51"/>
                    </a:lnTo>
                    <a:lnTo>
                      <a:pt x="181" y="51"/>
                    </a:lnTo>
                    <a:lnTo>
                      <a:pt x="180" y="51"/>
                    </a:lnTo>
                    <a:lnTo>
                      <a:pt x="180" y="50"/>
                    </a:lnTo>
                    <a:lnTo>
                      <a:pt x="179" y="50"/>
                    </a:lnTo>
                    <a:lnTo>
                      <a:pt x="179" y="50"/>
                    </a:lnTo>
                    <a:lnTo>
                      <a:pt x="179" y="50"/>
                    </a:lnTo>
                    <a:lnTo>
                      <a:pt x="178" y="50"/>
                    </a:lnTo>
                    <a:lnTo>
                      <a:pt x="178" y="50"/>
                    </a:lnTo>
                    <a:lnTo>
                      <a:pt x="178" y="50"/>
                    </a:lnTo>
                    <a:lnTo>
                      <a:pt x="177" y="50"/>
                    </a:lnTo>
                    <a:lnTo>
                      <a:pt x="177" y="50"/>
                    </a:lnTo>
                    <a:lnTo>
                      <a:pt x="176" y="50"/>
                    </a:lnTo>
                    <a:lnTo>
                      <a:pt x="176" y="49"/>
                    </a:lnTo>
                    <a:lnTo>
                      <a:pt x="176" y="49"/>
                    </a:lnTo>
                    <a:lnTo>
                      <a:pt x="175" y="48"/>
                    </a:lnTo>
                    <a:lnTo>
                      <a:pt x="175" y="48"/>
                    </a:lnTo>
                    <a:lnTo>
                      <a:pt x="175" y="47"/>
                    </a:lnTo>
                    <a:lnTo>
                      <a:pt x="174" y="47"/>
                    </a:lnTo>
                    <a:lnTo>
                      <a:pt x="174" y="47"/>
                    </a:lnTo>
                    <a:lnTo>
                      <a:pt x="174" y="47"/>
                    </a:lnTo>
                    <a:lnTo>
                      <a:pt x="173" y="47"/>
                    </a:lnTo>
                    <a:lnTo>
                      <a:pt x="172" y="47"/>
                    </a:lnTo>
                    <a:lnTo>
                      <a:pt x="172" y="47"/>
                    </a:lnTo>
                    <a:lnTo>
                      <a:pt x="171" y="47"/>
                    </a:lnTo>
                    <a:lnTo>
                      <a:pt x="171" y="47"/>
                    </a:lnTo>
                    <a:lnTo>
                      <a:pt x="170" y="47"/>
                    </a:lnTo>
                    <a:lnTo>
                      <a:pt x="170" y="47"/>
                    </a:lnTo>
                    <a:lnTo>
                      <a:pt x="170" y="48"/>
                    </a:lnTo>
                    <a:lnTo>
                      <a:pt x="170" y="48"/>
                    </a:lnTo>
                    <a:lnTo>
                      <a:pt x="170" y="48"/>
                    </a:lnTo>
                    <a:lnTo>
                      <a:pt x="170" y="49"/>
                    </a:lnTo>
                    <a:lnTo>
                      <a:pt x="169" y="49"/>
                    </a:lnTo>
                    <a:lnTo>
                      <a:pt x="168" y="49"/>
                    </a:lnTo>
                    <a:lnTo>
                      <a:pt x="167" y="49"/>
                    </a:lnTo>
                    <a:lnTo>
                      <a:pt x="166" y="49"/>
                    </a:lnTo>
                    <a:lnTo>
                      <a:pt x="166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50"/>
                    </a:lnTo>
                    <a:lnTo>
                      <a:pt x="165" y="50"/>
                    </a:lnTo>
                    <a:lnTo>
                      <a:pt x="164" y="51"/>
                    </a:lnTo>
                    <a:lnTo>
                      <a:pt x="163" y="51"/>
                    </a:lnTo>
                    <a:lnTo>
                      <a:pt x="163" y="51"/>
                    </a:lnTo>
                    <a:lnTo>
                      <a:pt x="162" y="51"/>
                    </a:lnTo>
                    <a:lnTo>
                      <a:pt x="161" y="51"/>
                    </a:lnTo>
                    <a:lnTo>
                      <a:pt x="161" y="52"/>
                    </a:lnTo>
                    <a:lnTo>
                      <a:pt x="160" y="52"/>
                    </a:lnTo>
                    <a:lnTo>
                      <a:pt x="159" y="52"/>
                    </a:lnTo>
                    <a:lnTo>
                      <a:pt x="159" y="52"/>
                    </a:lnTo>
                    <a:lnTo>
                      <a:pt x="159" y="52"/>
                    </a:lnTo>
                    <a:lnTo>
                      <a:pt x="158" y="52"/>
                    </a:lnTo>
                    <a:lnTo>
                      <a:pt x="158" y="53"/>
                    </a:lnTo>
                    <a:lnTo>
                      <a:pt x="158" y="53"/>
                    </a:lnTo>
                    <a:lnTo>
                      <a:pt x="158" y="53"/>
                    </a:lnTo>
                    <a:lnTo>
                      <a:pt x="158" y="54"/>
                    </a:lnTo>
                    <a:lnTo>
                      <a:pt x="158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6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5"/>
                    </a:lnTo>
                    <a:lnTo>
                      <a:pt x="155" y="55"/>
                    </a:lnTo>
                    <a:lnTo>
                      <a:pt x="155" y="56"/>
                    </a:lnTo>
                    <a:lnTo>
                      <a:pt x="154" y="56"/>
                    </a:lnTo>
                    <a:lnTo>
                      <a:pt x="154" y="56"/>
                    </a:lnTo>
                    <a:lnTo>
                      <a:pt x="153" y="56"/>
                    </a:lnTo>
                    <a:lnTo>
                      <a:pt x="153" y="56"/>
                    </a:lnTo>
                    <a:lnTo>
                      <a:pt x="153" y="55"/>
                    </a:lnTo>
                    <a:lnTo>
                      <a:pt x="152" y="55"/>
                    </a:lnTo>
                    <a:lnTo>
                      <a:pt x="152" y="55"/>
                    </a:lnTo>
                    <a:lnTo>
                      <a:pt x="152" y="56"/>
                    </a:lnTo>
                    <a:lnTo>
                      <a:pt x="152" y="56"/>
                    </a:lnTo>
                    <a:lnTo>
                      <a:pt x="151" y="56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0" y="57"/>
                    </a:lnTo>
                    <a:lnTo>
                      <a:pt x="150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48" y="59"/>
                    </a:lnTo>
                    <a:lnTo>
                      <a:pt x="148" y="59"/>
                    </a:lnTo>
                    <a:lnTo>
                      <a:pt x="147" y="60"/>
                    </a:lnTo>
                    <a:lnTo>
                      <a:pt x="145" y="60"/>
                    </a:lnTo>
                    <a:lnTo>
                      <a:pt x="144" y="61"/>
                    </a:lnTo>
                    <a:lnTo>
                      <a:pt x="142" y="61"/>
                    </a:lnTo>
                    <a:lnTo>
                      <a:pt x="142" y="62"/>
                    </a:lnTo>
                    <a:lnTo>
                      <a:pt x="141" y="62"/>
                    </a:lnTo>
                    <a:lnTo>
                      <a:pt x="140" y="63"/>
                    </a:lnTo>
                    <a:lnTo>
                      <a:pt x="140" y="63"/>
                    </a:lnTo>
                    <a:lnTo>
                      <a:pt x="139" y="64"/>
                    </a:lnTo>
                    <a:lnTo>
                      <a:pt x="139" y="64"/>
                    </a:lnTo>
                    <a:lnTo>
                      <a:pt x="139" y="65"/>
                    </a:lnTo>
                    <a:lnTo>
                      <a:pt x="138" y="65"/>
                    </a:lnTo>
                    <a:lnTo>
                      <a:pt x="138" y="65"/>
                    </a:lnTo>
                    <a:lnTo>
                      <a:pt x="137" y="65"/>
                    </a:lnTo>
                    <a:lnTo>
                      <a:pt x="137" y="65"/>
                    </a:lnTo>
                    <a:lnTo>
                      <a:pt x="137" y="66"/>
                    </a:lnTo>
                    <a:lnTo>
                      <a:pt x="137" y="66"/>
                    </a:lnTo>
                    <a:lnTo>
                      <a:pt x="137" y="66"/>
                    </a:lnTo>
                    <a:lnTo>
                      <a:pt x="137" y="67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37" y="70"/>
                    </a:lnTo>
                    <a:lnTo>
                      <a:pt x="137" y="71"/>
                    </a:lnTo>
                    <a:lnTo>
                      <a:pt x="137" y="72"/>
                    </a:lnTo>
                    <a:lnTo>
                      <a:pt x="137" y="72"/>
                    </a:lnTo>
                    <a:lnTo>
                      <a:pt x="137" y="73"/>
                    </a:lnTo>
                    <a:lnTo>
                      <a:pt x="137" y="73"/>
                    </a:lnTo>
                    <a:lnTo>
                      <a:pt x="137" y="73"/>
                    </a:lnTo>
                    <a:lnTo>
                      <a:pt x="138" y="74"/>
                    </a:lnTo>
                    <a:lnTo>
                      <a:pt x="138" y="74"/>
                    </a:lnTo>
                    <a:lnTo>
                      <a:pt x="138" y="74"/>
                    </a:lnTo>
                    <a:lnTo>
                      <a:pt x="139" y="74"/>
                    </a:lnTo>
                    <a:lnTo>
                      <a:pt x="140" y="74"/>
                    </a:lnTo>
                    <a:lnTo>
                      <a:pt x="141" y="74"/>
                    </a:lnTo>
                    <a:lnTo>
                      <a:pt x="142" y="74"/>
                    </a:lnTo>
                    <a:lnTo>
                      <a:pt x="143" y="74"/>
                    </a:lnTo>
                    <a:lnTo>
                      <a:pt x="144" y="74"/>
                    </a:lnTo>
                    <a:lnTo>
                      <a:pt x="145" y="74"/>
                    </a:lnTo>
                    <a:lnTo>
                      <a:pt x="146" y="74"/>
                    </a:lnTo>
                    <a:lnTo>
                      <a:pt x="147" y="74"/>
                    </a:lnTo>
                    <a:lnTo>
                      <a:pt x="147" y="74"/>
                    </a:lnTo>
                    <a:lnTo>
                      <a:pt x="148" y="74"/>
                    </a:lnTo>
                    <a:lnTo>
                      <a:pt x="148" y="74"/>
                    </a:lnTo>
                    <a:lnTo>
                      <a:pt x="148" y="75"/>
                    </a:lnTo>
                    <a:lnTo>
                      <a:pt x="148" y="75"/>
                    </a:lnTo>
                    <a:lnTo>
                      <a:pt x="149" y="75"/>
                    </a:lnTo>
                    <a:lnTo>
                      <a:pt x="149" y="76"/>
                    </a:lnTo>
                    <a:lnTo>
                      <a:pt x="148" y="76"/>
                    </a:lnTo>
                    <a:lnTo>
                      <a:pt x="148" y="77"/>
                    </a:lnTo>
                    <a:lnTo>
                      <a:pt x="148" y="77"/>
                    </a:lnTo>
                    <a:lnTo>
                      <a:pt x="147" y="77"/>
                    </a:lnTo>
                    <a:lnTo>
                      <a:pt x="147" y="77"/>
                    </a:lnTo>
                    <a:lnTo>
                      <a:pt x="147" y="77"/>
                    </a:lnTo>
                    <a:lnTo>
                      <a:pt x="147" y="78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6" y="79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4"/>
                    </a:lnTo>
                    <a:lnTo>
                      <a:pt x="146" y="86"/>
                    </a:lnTo>
                    <a:lnTo>
                      <a:pt x="146" y="86"/>
                    </a:lnTo>
                    <a:lnTo>
                      <a:pt x="146" y="86"/>
                    </a:lnTo>
                    <a:lnTo>
                      <a:pt x="146" y="87"/>
                    </a:lnTo>
                    <a:lnTo>
                      <a:pt x="147" y="87"/>
                    </a:lnTo>
                    <a:lnTo>
                      <a:pt x="147" y="87"/>
                    </a:lnTo>
                    <a:lnTo>
                      <a:pt x="147" y="87"/>
                    </a:lnTo>
                    <a:lnTo>
                      <a:pt x="148" y="87"/>
                    </a:lnTo>
                    <a:lnTo>
                      <a:pt x="148" y="87"/>
                    </a:lnTo>
                    <a:lnTo>
                      <a:pt x="148" y="89"/>
                    </a:lnTo>
                    <a:lnTo>
                      <a:pt x="149" y="90"/>
                    </a:lnTo>
                    <a:lnTo>
                      <a:pt x="149" y="91"/>
                    </a:lnTo>
                    <a:lnTo>
                      <a:pt x="149" y="92"/>
                    </a:lnTo>
                    <a:lnTo>
                      <a:pt x="150" y="93"/>
                    </a:lnTo>
                    <a:lnTo>
                      <a:pt x="150" y="94"/>
                    </a:lnTo>
                    <a:lnTo>
                      <a:pt x="151" y="95"/>
                    </a:lnTo>
                    <a:lnTo>
                      <a:pt x="152" y="96"/>
                    </a:lnTo>
                    <a:lnTo>
                      <a:pt x="153" y="98"/>
                    </a:lnTo>
                    <a:lnTo>
                      <a:pt x="154" y="100"/>
                    </a:lnTo>
                    <a:lnTo>
                      <a:pt x="155" y="101"/>
                    </a:lnTo>
                    <a:lnTo>
                      <a:pt x="155" y="102"/>
                    </a:lnTo>
                    <a:lnTo>
                      <a:pt x="156" y="103"/>
                    </a:lnTo>
                    <a:lnTo>
                      <a:pt x="157" y="104"/>
                    </a:lnTo>
                    <a:lnTo>
                      <a:pt x="156" y="104"/>
                    </a:lnTo>
                    <a:lnTo>
                      <a:pt x="156" y="104"/>
                    </a:lnTo>
                    <a:lnTo>
                      <a:pt x="156" y="105"/>
                    </a:lnTo>
                    <a:lnTo>
                      <a:pt x="157" y="105"/>
                    </a:lnTo>
                    <a:lnTo>
                      <a:pt x="157" y="105"/>
                    </a:lnTo>
                    <a:lnTo>
                      <a:pt x="157" y="105"/>
                    </a:lnTo>
                    <a:lnTo>
                      <a:pt x="158" y="105"/>
                    </a:lnTo>
                    <a:lnTo>
                      <a:pt x="158" y="105"/>
                    </a:lnTo>
                    <a:lnTo>
                      <a:pt x="158" y="106"/>
                    </a:lnTo>
                    <a:lnTo>
                      <a:pt x="158" y="106"/>
                    </a:lnTo>
                    <a:lnTo>
                      <a:pt x="159" y="107"/>
                    </a:lnTo>
                    <a:lnTo>
                      <a:pt x="159" y="107"/>
                    </a:lnTo>
                    <a:lnTo>
                      <a:pt x="159" y="108"/>
                    </a:lnTo>
                    <a:lnTo>
                      <a:pt x="160" y="108"/>
                    </a:lnTo>
                    <a:lnTo>
                      <a:pt x="160" y="109"/>
                    </a:lnTo>
                    <a:lnTo>
                      <a:pt x="160" y="109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1" y="110"/>
                    </a:lnTo>
                    <a:lnTo>
                      <a:pt x="161" y="110"/>
                    </a:lnTo>
                    <a:lnTo>
                      <a:pt x="162" y="111"/>
                    </a:lnTo>
                    <a:lnTo>
                      <a:pt x="162" y="111"/>
                    </a:lnTo>
                    <a:lnTo>
                      <a:pt x="162" y="112"/>
                    </a:lnTo>
                    <a:lnTo>
                      <a:pt x="162" y="114"/>
                    </a:lnTo>
                    <a:lnTo>
                      <a:pt x="162" y="115"/>
                    </a:lnTo>
                    <a:lnTo>
                      <a:pt x="162" y="116"/>
                    </a:lnTo>
                    <a:lnTo>
                      <a:pt x="162" y="117"/>
                    </a:lnTo>
                    <a:lnTo>
                      <a:pt x="161" y="117"/>
                    </a:lnTo>
                    <a:lnTo>
                      <a:pt x="161" y="118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2" y="119"/>
                    </a:lnTo>
                    <a:lnTo>
                      <a:pt x="163" y="119"/>
                    </a:lnTo>
                    <a:lnTo>
                      <a:pt x="163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20"/>
                    </a:lnTo>
                    <a:lnTo>
                      <a:pt x="164" y="120"/>
                    </a:lnTo>
                    <a:lnTo>
                      <a:pt x="163" y="120"/>
                    </a:lnTo>
                    <a:lnTo>
                      <a:pt x="163" y="120"/>
                    </a:lnTo>
                    <a:lnTo>
                      <a:pt x="162" y="120"/>
                    </a:lnTo>
                    <a:lnTo>
                      <a:pt x="161" y="121"/>
                    </a:lnTo>
                    <a:lnTo>
                      <a:pt x="161" y="121"/>
                    </a:lnTo>
                    <a:lnTo>
                      <a:pt x="160" y="121"/>
                    </a:lnTo>
                    <a:lnTo>
                      <a:pt x="159" y="122"/>
                    </a:lnTo>
                    <a:lnTo>
                      <a:pt x="158" y="122"/>
                    </a:lnTo>
                    <a:lnTo>
                      <a:pt x="158" y="122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4"/>
                    </a:lnTo>
                    <a:lnTo>
                      <a:pt x="156" y="124"/>
                    </a:lnTo>
                    <a:lnTo>
                      <a:pt x="156" y="125"/>
                    </a:lnTo>
                    <a:lnTo>
                      <a:pt x="157" y="126"/>
                    </a:lnTo>
                    <a:lnTo>
                      <a:pt x="157" y="126"/>
                    </a:lnTo>
                    <a:lnTo>
                      <a:pt x="157" y="127"/>
                    </a:lnTo>
                    <a:lnTo>
                      <a:pt x="157" y="127"/>
                    </a:lnTo>
                    <a:lnTo>
                      <a:pt x="158" y="128"/>
                    </a:lnTo>
                    <a:lnTo>
                      <a:pt x="158" y="128"/>
                    </a:lnTo>
                    <a:lnTo>
                      <a:pt x="158" y="129"/>
                    </a:lnTo>
                    <a:lnTo>
                      <a:pt x="158" y="129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7" y="130"/>
                    </a:lnTo>
                    <a:lnTo>
                      <a:pt x="157" y="130"/>
                    </a:lnTo>
                    <a:lnTo>
                      <a:pt x="157" y="130"/>
                    </a:lnTo>
                    <a:lnTo>
                      <a:pt x="156" y="130"/>
                    </a:lnTo>
                    <a:lnTo>
                      <a:pt x="156" y="130"/>
                    </a:lnTo>
                    <a:lnTo>
                      <a:pt x="155" y="130"/>
                    </a:lnTo>
                    <a:lnTo>
                      <a:pt x="155" y="130"/>
                    </a:lnTo>
                    <a:lnTo>
                      <a:pt x="154" y="130"/>
                    </a:lnTo>
                    <a:lnTo>
                      <a:pt x="154" y="130"/>
                    </a:lnTo>
                    <a:lnTo>
                      <a:pt x="154" y="130"/>
                    </a:lnTo>
                    <a:lnTo>
                      <a:pt x="153" y="130"/>
                    </a:lnTo>
                    <a:lnTo>
                      <a:pt x="153" y="131"/>
                    </a:lnTo>
                    <a:lnTo>
                      <a:pt x="153" y="131"/>
                    </a:lnTo>
                    <a:lnTo>
                      <a:pt x="153" y="131"/>
                    </a:lnTo>
                    <a:lnTo>
                      <a:pt x="153" y="132"/>
                    </a:lnTo>
                    <a:lnTo>
                      <a:pt x="153" y="133"/>
                    </a:lnTo>
                    <a:lnTo>
                      <a:pt x="153" y="135"/>
                    </a:lnTo>
                    <a:lnTo>
                      <a:pt x="153" y="136"/>
                    </a:lnTo>
                    <a:lnTo>
                      <a:pt x="153" y="137"/>
                    </a:lnTo>
                    <a:lnTo>
                      <a:pt x="153" y="137"/>
                    </a:lnTo>
                    <a:lnTo>
                      <a:pt x="153" y="138"/>
                    </a:lnTo>
                    <a:lnTo>
                      <a:pt x="154" y="139"/>
                    </a:lnTo>
                    <a:lnTo>
                      <a:pt x="154" y="140"/>
                    </a:lnTo>
                    <a:lnTo>
                      <a:pt x="155" y="141"/>
                    </a:lnTo>
                    <a:lnTo>
                      <a:pt x="155" y="142"/>
                    </a:lnTo>
                    <a:lnTo>
                      <a:pt x="156" y="143"/>
                    </a:lnTo>
                    <a:lnTo>
                      <a:pt x="156" y="144"/>
                    </a:lnTo>
                    <a:lnTo>
                      <a:pt x="156" y="145"/>
                    </a:lnTo>
                    <a:lnTo>
                      <a:pt x="157" y="145"/>
                    </a:lnTo>
                    <a:lnTo>
                      <a:pt x="156" y="145"/>
                    </a:lnTo>
                    <a:lnTo>
                      <a:pt x="156" y="145"/>
                    </a:lnTo>
                    <a:lnTo>
                      <a:pt x="156" y="145"/>
                    </a:lnTo>
                    <a:lnTo>
                      <a:pt x="155" y="145"/>
                    </a:lnTo>
                    <a:lnTo>
                      <a:pt x="155" y="145"/>
                    </a:lnTo>
                    <a:lnTo>
                      <a:pt x="154" y="145"/>
                    </a:lnTo>
                    <a:lnTo>
                      <a:pt x="153" y="145"/>
                    </a:lnTo>
                    <a:lnTo>
                      <a:pt x="152" y="145"/>
                    </a:lnTo>
                    <a:lnTo>
                      <a:pt x="151" y="145"/>
                    </a:lnTo>
                    <a:lnTo>
                      <a:pt x="152" y="145"/>
                    </a:lnTo>
                    <a:lnTo>
                      <a:pt x="152" y="145"/>
                    </a:lnTo>
                    <a:lnTo>
                      <a:pt x="152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0" y="144"/>
                    </a:lnTo>
                    <a:lnTo>
                      <a:pt x="149" y="143"/>
                    </a:lnTo>
                    <a:lnTo>
                      <a:pt x="148" y="143"/>
                    </a:lnTo>
                    <a:lnTo>
                      <a:pt x="148" y="143"/>
                    </a:lnTo>
                    <a:lnTo>
                      <a:pt x="147" y="142"/>
                    </a:lnTo>
                    <a:lnTo>
                      <a:pt x="146" y="142"/>
                    </a:lnTo>
                    <a:lnTo>
                      <a:pt x="146" y="142"/>
                    </a:lnTo>
                    <a:lnTo>
                      <a:pt x="145" y="142"/>
                    </a:lnTo>
                    <a:lnTo>
                      <a:pt x="145" y="142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3" y="142"/>
                    </a:lnTo>
                    <a:lnTo>
                      <a:pt x="141" y="142"/>
                    </a:lnTo>
                    <a:lnTo>
                      <a:pt x="140" y="142"/>
                    </a:lnTo>
                    <a:lnTo>
                      <a:pt x="138" y="142"/>
                    </a:lnTo>
                    <a:lnTo>
                      <a:pt x="137" y="142"/>
                    </a:lnTo>
                    <a:lnTo>
                      <a:pt x="136" y="142"/>
                    </a:lnTo>
                    <a:lnTo>
                      <a:pt x="135" y="141"/>
                    </a:lnTo>
                    <a:lnTo>
                      <a:pt x="135" y="141"/>
                    </a:lnTo>
                    <a:lnTo>
                      <a:pt x="134" y="141"/>
                    </a:lnTo>
                    <a:lnTo>
                      <a:pt x="134" y="140"/>
                    </a:lnTo>
                    <a:lnTo>
                      <a:pt x="134" y="140"/>
                    </a:lnTo>
                    <a:lnTo>
                      <a:pt x="133" y="139"/>
                    </a:lnTo>
                    <a:lnTo>
                      <a:pt x="133" y="139"/>
                    </a:lnTo>
                    <a:lnTo>
                      <a:pt x="133" y="138"/>
                    </a:lnTo>
                    <a:lnTo>
                      <a:pt x="133" y="138"/>
                    </a:lnTo>
                    <a:lnTo>
                      <a:pt x="133" y="137"/>
                    </a:lnTo>
                    <a:lnTo>
                      <a:pt x="133" y="137"/>
                    </a:lnTo>
                    <a:lnTo>
                      <a:pt x="133" y="137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28" y="137"/>
                    </a:lnTo>
                    <a:lnTo>
                      <a:pt x="125" y="137"/>
                    </a:lnTo>
                    <a:lnTo>
                      <a:pt x="121" y="137"/>
                    </a:lnTo>
                    <a:lnTo>
                      <a:pt x="118" y="137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5"/>
                    </a:lnTo>
                    <a:lnTo>
                      <a:pt x="117" y="135"/>
                    </a:lnTo>
                    <a:lnTo>
                      <a:pt x="117" y="135"/>
                    </a:lnTo>
                    <a:lnTo>
                      <a:pt x="114" y="136"/>
                    </a:lnTo>
                    <a:lnTo>
                      <a:pt x="112" y="136"/>
                    </a:lnTo>
                    <a:lnTo>
                      <a:pt x="110" y="136"/>
                    </a:lnTo>
                    <a:lnTo>
                      <a:pt x="107" y="137"/>
                    </a:lnTo>
                    <a:lnTo>
                      <a:pt x="105" y="137"/>
                    </a:lnTo>
                    <a:lnTo>
                      <a:pt x="102" y="137"/>
                    </a:lnTo>
                    <a:lnTo>
                      <a:pt x="101" y="137"/>
                    </a:lnTo>
                    <a:lnTo>
                      <a:pt x="99" y="137"/>
                    </a:lnTo>
                    <a:lnTo>
                      <a:pt x="98" y="137"/>
                    </a:lnTo>
                    <a:lnTo>
                      <a:pt x="97" y="137"/>
                    </a:lnTo>
                    <a:lnTo>
                      <a:pt x="96" y="137"/>
                    </a:lnTo>
                    <a:lnTo>
                      <a:pt x="95" y="137"/>
                    </a:lnTo>
                    <a:lnTo>
                      <a:pt x="94" y="137"/>
                    </a:lnTo>
                    <a:lnTo>
                      <a:pt x="93" y="137"/>
                    </a:lnTo>
                    <a:lnTo>
                      <a:pt x="93" y="137"/>
                    </a:lnTo>
                    <a:lnTo>
                      <a:pt x="92" y="137"/>
                    </a:lnTo>
                    <a:lnTo>
                      <a:pt x="92" y="137"/>
                    </a:lnTo>
                    <a:lnTo>
                      <a:pt x="92" y="138"/>
                    </a:lnTo>
                    <a:lnTo>
                      <a:pt x="92" y="138"/>
                    </a:lnTo>
                    <a:lnTo>
                      <a:pt x="92" y="138"/>
                    </a:lnTo>
                    <a:lnTo>
                      <a:pt x="92" y="139"/>
                    </a:lnTo>
                    <a:lnTo>
                      <a:pt x="90" y="139"/>
                    </a:lnTo>
                    <a:lnTo>
                      <a:pt x="89" y="139"/>
                    </a:lnTo>
                    <a:lnTo>
                      <a:pt x="88" y="139"/>
                    </a:lnTo>
                    <a:lnTo>
                      <a:pt x="87" y="139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4" y="138"/>
                    </a:lnTo>
                    <a:lnTo>
                      <a:pt x="83" y="137"/>
                    </a:lnTo>
                    <a:lnTo>
                      <a:pt x="82" y="137"/>
                    </a:lnTo>
                    <a:lnTo>
                      <a:pt x="81" y="137"/>
                    </a:lnTo>
                    <a:lnTo>
                      <a:pt x="80" y="137"/>
                    </a:lnTo>
                    <a:lnTo>
                      <a:pt x="79" y="137"/>
                    </a:lnTo>
                    <a:lnTo>
                      <a:pt x="78" y="137"/>
                    </a:lnTo>
                    <a:lnTo>
                      <a:pt x="77" y="137"/>
                    </a:lnTo>
                    <a:lnTo>
                      <a:pt x="76" y="137"/>
                    </a:lnTo>
                    <a:lnTo>
                      <a:pt x="76" y="137"/>
                    </a:lnTo>
                    <a:lnTo>
                      <a:pt x="75" y="137"/>
                    </a:lnTo>
                    <a:lnTo>
                      <a:pt x="75" y="137"/>
                    </a:lnTo>
                    <a:lnTo>
                      <a:pt x="75" y="137"/>
                    </a:lnTo>
                    <a:lnTo>
                      <a:pt x="75" y="138"/>
                    </a:lnTo>
                    <a:lnTo>
                      <a:pt x="75" y="138"/>
                    </a:lnTo>
                    <a:lnTo>
                      <a:pt x="75" y="139"/>
                    </a:lnTo>
                    <a:lnTo>
                      <a:pt x="75" y="139"/>
                    </a:lnTo>
                    <a:lnTo>
                      <a:pt x="74" y="139"/>
                    </a:lnTo>
                    <a:lnTo>
                      <a:pt x="74" y="139"/>
                    </a:lnTo>
                    <a:lnTo>
                      <a:pt x="74" y="139"/>
                    </a:lnTo>
                    <a:lnTo>
                      <a:pt x="73" y="139"/>
                    </a:lnTo>
                    <a:lnTo>
                      <a:pt x="73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0" y="140"/>
                    </a:lnTo>
                    <a:lnTo>
                      <a:pt x="70" y="140"/>
                    </a:lnTo>
                    <a:lnTo>
                      <a:pt x="69" y="140"/>
                    </a:lnTo>
                    <a:lnTo>
                      <a:pt x="68" y="140"/>
                    </a:lnTo>
                    <a:lnTo>
                      <a:pt x="67" y="140"/>
                    </a:lnTo>
                    <a:lnTo>
                      <a:pt x="66" y="140"/>
                    </a:lnTo>
                    <a:lnTo>
                      <a:pt x="64" y="140"/>
                    </a:lnTo>
                    <a:lnTo>
                      <a:pt x="61" y="140"/>
                    </a:lnTo>
                    <a:lnTo>
                      <a:pt x="60" y="140"/>
                    </a:lnTo>
                    <a:lnTo>
                      <a:pt x="59" y="140"/>
                    </a:lnTo>
                    <a:lnTo>
                      <a:pt x="58" y="140"/>
                    </a:lnTo>
                    <a:lnTo>
                      <a:pt x="57" y="140"/>
                    </a:lnTo>
                    <a:lnTo>
                      <a:pt x="57" y="140"/>
                    </a:lnTo>
                    <a:lnTo>
                      <a:pt x="56" y="141"/>
                    </a:lnTo>
                    <a:lnTo>
                      <a:pt x="55" y="141"/>
                    </a:lnTo>
                    <a:lnTo>
                      <a:pt x="55" y="142"/>
                    </a:lnTo>
                    <a:lnTo>
                      <a:pt x="55" y="142"/>
                    </a:lnTo>
                    <a:lnTo>
                      <a:pt x="54" y="142"/>
                    </a:lnTo>
                    <a:lnTo>
                      <a:pt x="54" y="142"/>
                    </a:lnTo>
                    <a:lnTo>
                      <a:pt x="53" y="142"/>
                    </a:lnTo>
                    <a:lnTo>
                      <a:pt x="53" y="142"/>
                    </a:lnTo>
                    <a:lnTo>
                      <a:pt x="52" y="142"/>
                    </a:lnTo>
                    <a:lnTo>
                      <a:pt x="52" y="143"/>
                    </a:lnTo>
                    <a:lnTo>
                      <a:pt x="52" y="143"/>
                    </a:lnTo>
                    <a:lnTo>
                      <a:pt x="52" y="143"/>
                    </a:lnTo>
                    <a:lnTo>
                      <a:pt x="52" y="144"/>
                    </a:lnTo>
                    <a:lnTo>
                      <a:pt x="51" y="144"/>
                    </a:lnTo>
                    <a:lnTo>
                      <a:pt x="51" y="143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5"/>
                    </a:lnTo>
                    <a:lnTo>
                      <a:pt x="50" y="145"/>
                    </a:lnTo>
                    <a:lnTo>
                      <a:pt x="50" y="145"/>
                    </a:lnTo>
                    <a:lnTo>
                      <a:pt x="49" y="145"/>
                    </a:lnTo>
                    <a:lnTo>
                      <a:pt x="48" y="145"/>
                    </a:lnTo>
                    <a:lnTo>
                      <a:pt x="46" y="145"/>
                    </a:lnTo>
                    <a:lnTo>
                      <a:pt x="45" y="145"/>
                    </a:lnTo>
                    <a:lnTo>
                      <a:pt x="45" y="145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3"/>
                    </a:lnTo>
                    <a:lnTo>
                      <a:pt x="43" y="143"/>
                    </a:lnTo>
                    <a:lnTo>
                      <a:pt x="43" y="142"/>
                    </a:lnTo>
                    <a:lnTo>
                      <a:pt x="43" y="140"/>
                    </a:lnTo>
                    <a:lnTo>
                      <a:pt x="43" y="139"/>
                    </a:lnTo>
                    <a:lnTo>
                      <a:pt x="43" y="137"/>
                    </a:lnTo>
                    <a:lnTo>
                      <a:pt x="43" y="135"/>
                    </a:lnTo>
                    <a:lnTo>
                      <a:pt x="43" y="134"/>
                    </a:lnTo>
                    <a:lnTo>
                      <a:pt x="42" y="133"/>
                    </a:lnTo>
                    <a:lnTo>
                      <a:pt x="41" y="131"/>
                    </a:lnTo>
                    <a:lnTo>
                      <a:pt x="40" y="130"/>
                    </a:lnTo>
                    <a:lnTo>
                      <a:pt x="40" y="129"/>
                    </a:lnTo>
                    <a:lnTo>
                      <a:pt x="39" y="128"/>
                    </a:lnTo>
                    <a:lnTo>
                      <a:pt x="38" y="126"/>
                    </a:lnTo>
                    <a:lnTo>
                      <a:pt x="38" y="125"/>
                    </a:lnTo>
                    <a:lnTo>
                      <a:pt x="37" y="123"/>
                    </a:lnTo>
                    <a:lnTo>
                      <a:pt x="36" y="120"/>
                    </a:lnTo>
                    <a:lnTo>
                      <a:pt x="35" y="117"/>
                    </a:lnTo>
                    <a:lnTo>
                      <a:pt x="34" y="114"/>
                    </a:lnTo>
                    <a:lnTo>
                      <a:pt x="33" y="111"/>
                    </a:lnTo>
                    <a:lnTo>
                      <a:pt x="33" y="110"/>
                    </a:lnTo>
                    <a:lnTo>
                      <a:pt x="32" y="109"/>
                    </a:lnTo>
                    <a:lnTo>
                      <a:pt x="32" y="108"/>
                    </a:lnTo>
                    <a:lnTo>
                      <a:pt x="31" y="107"/>
                    </a:lnTo>
                    <a:lnTo>
                      <a:pt x="30" y="106"/>
                    </a:lnTo>
                    <a:lnTo>
                      <a:pt x="30" y="106"/>
                    </a:lnTo>
                    <a:lnTo>
                      <a:pt x="29" y="105"/>
                    </a:lnTo>
                    <a:lnTo>
                      <a:pt x="28" y="105"/>
                    </a:lnTo>
                    <a:lnTo>
                      <a:pt x="27" y="104"/>
                    </a:lnTo>
                    <a:lnTo>
                      <a:pt x="26" y="104"/>
                    </a:lnTo>
                    <a:lnTo>
                      <a:pt x="24" y="103"/>
                    </a:lnTo>
                    <a:lnTo>
                      <a:pt x="22" y="103"/>
                    </a:lnTo>
                    <a:lnTo>
                      <a:pt x="20" y="102"/>
                    </a:lnTo>
                    <a:lnTo>
                      <a:pt x="18" y="100"/>
                    </a:lnTo>
                    <a:lnTo>
                      <a:pt x="16" y="98"/>
                    </a:lnTo>
                    <a:lnTo>
                      <a:pt x="13" y="93"/>
                    </a:lnTo>
                    <a:lnTo>
                      <a:pt x="11" y="91"/>
                    </a:lnTo>
                    <a:lnTo>
                      <a:pt x="9" y="89"/>
                    </a:lnTo>
                    <a:lnTo>
                      <a:pt x="7" y="86"/>
                    </a:lnTo>
                    <a:lnTo>
                      <a:pt x="6" y="84"/>
                    </a:lnTo>
                    <a:lnTo>
                      <a:pt x="4" y="81"/>
                    </a:lnTo>
                    <a:lnTo>
                      <a:pt x="4" y="80"/>
                    </a:lnTo>
                    <a:lnTo>
                      <a:pt x="3" y="78"/>
                    </a:lnTo>
                    <a:lnTo>
                      <a:pt x="3" y="77"/>
                    </a:lnTo>
                    <a:lnTo>
                      <a:pt x="2" y="76"/>
                    </a:lnTo>
                    <a:lnTo>
                      <a:pt x="1" y="74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0" y="69"/>
                    </a:lnTo>
                    <a:lnTo>
                      <a:pt x="0" y="67"/>
                    </a:lnTo>
                    <a:lnTo>
                      <a:pt x="0" y="65"/>
                    </a:lnTo>
                    <a:lnTo>
                      <a:pt x="0" y="63"/>
                    </a:lnTo>
                    <a:lnTo>
                      <a:pt x="0" y="61"/>
                    </a:lnTo>
                    <a:lnTo>
                      <a:pt x="0" y="59"/>
                    </a:lnTo>
                    <a:lnTo>
                      <a:pt x="0" y="57"/>
                    </a:lnTo>
                    <a:lnTo>
                      <a:pt x="0" y="55"/>
                    </a:lnTo>
                    <a:lnTo>
                      <a:pt x="0" y="54"/>
                    </a:lnTo>
                    <a:lnTo>
                      <a:pt x="1" y="52"/>
                    </a:lnTo>
                    <a:lnTo>
                      <a:pt x="1" y="51"/>
                    </a:lnTo>
                    <a:lnTo>
                      <a:pt x="1" y="49"/>
                    </a:lnTo>
                    <a:lnTo>
                      <a:pt x="2" y="48"/>
                    </a:lnTo>
                    <a:lnTo>
                      <a:pt x="3" y="47"/>
                    </a:lnTo>
                    <a:lnTo>
                      <a:pt x="3" y="45"/>
                    </a:lnTo>
                    <a:lnTo>
                      <a:pt x="4" y="44"/>
                    </a:lnTo>
                    <a:lnTo>
                      <a:pt x="5" y="43"/>
                    </a:lnTo>
                    <a:lnTo>
                      <a:pt x="6" y="42"/>
                    </a:lnTo>
                    <a:lnTo>
                      <a:pt x="7" y="40"/>
                    </a:lnTo>
                    <a:lnTo>
                      <a:pt x="8" y="39"/>
                    </a:lnTo>
                    <a:lnTo>
                      <a:pt x="9" y="38"/>
                    </a:lnTo>
                    <a:lnTo>
                      <a:pt x="10" y="37"/>
                    </a:lnTo>
                    <a:lnTo>
                      <a:pt x="11" y="36"/>
                    </a:lnTo>
                    <a:lnTo>
                      <a:pt x="12" y="35"/>
                    </a:lnTo>
                    <a:lnTo>
                      <a:pt x="14" y="34"/>
                    </a:lnTo>
                    <a:lnTo>
                      <a:pt x="15" y="33"/>
                    </a:lnTo>
                    <a:lnTo>
                      <a:pt x="16" y="32"/>
                    </a:lnTo>
                    <a:lnTo>
                      <a:pt x="19" y="30"/>
                    </a:lnTo>
                    <a:lnTo>
                      <a:pt x="22" y="29"/>
                    </a:lnTo>
                    <a:lnTo>
                      <a:pt x="25" y="27"/>
                    </a:lnTo>
                    <a:lnTo>
                      <a:pt x="28" y="26"/>
                    </a:lnTo>
                    <a:lnTo>
                      <a:pt x="32" y="25"/>
                    </a:lnTo>
                    <a:lnTo>
                      <a:pt x="35" y="24"/>
                    </a:lnTo>
                    <a:lnTo>
                      <a:pt x="44" y="24"/>
                    </a:lnTo>
                    <a:lnTo>
                      <a:pt x="53" y="24"/>
                    </a:lnTo>
                    <a:lnTo>
                      <a:pt x="62" y="24"/>
                    </a:lnTo>
                    <a:lnTo>
                      <a:pt x="67" y="24"/>
                    </a:lnTo>
                    <a:lnTo>
                      <a:pt x="72" y="24"/>
                    </a:lnTo>
                    <a:lnTo>
                      <a:pt x="72" y="23"/>
                    </a:lnTo>
                    <a:lnTo>
                      <a:pt x="71" y="22"/>
                    </a:lnTo>
                    <a:lnTo>
                      <a:pt x="71" y="21"/>
                    </a:lnTo>
                    <a:lnTo>
                      <a:pt x="71" y="21"/>
                    </a:lnTo>
                    <a:lnTo>
                      <a:pt x="72" y="20"/>
                    </a:lnTo>
                    <a:lnTo>
                      <a:pt x="72" y="19"/>
                    </a:lnTo>
                    <a:lnTo>
                      <a:pt x="72" y="19"/>
                    </a:lnTo>
                    <a:lnTo>
                      <a:pt x="72" y="18"/>
                    </a:lnTo>
                    <a:lnTo>
                      <a:pt x="73" y="17"/>
                    </a:lnTo>
                    <a:lnTo>
                      <a:pt x="73" y="16"/>
                    </a:lnTo>
                    <a:lnTo>
                      <a:pt x="74" y="15"/>
                    </a:lnTo>
                    <a:lnTo>
                      <a:pt x="75" y="14"/>
                    </a:lnTo>
                    <a:lnTo>
                      <a:pt x="75" y="13"/>
                    </a:lnTo>
                    <a:lnTo>
                      <a:pt x="76" y="12"/>
                    </a:lnTo>
                    <a:lnTo>
                      <a:pt x="76" y="11"/>
                    </a:lnTo>
                    <a:lnTo>
                      <a:pt x="76" y="11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76" y="9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7"/>
                    </a:lnTo>
                    <a:lnTo>
                      <a:pt x="76" y="7"/>
                    </a:lnTo>
                    <a:lnTo>
                      <a:pt x="75" y="6"/>
                    </a:lnTo>
                    <a:lnTo>
                      <a:pt x="75" y="6"/>
                    </a:lnTo>
                    <a:lnTo>
                      <a:pt x="76" y="5"/>
                    </a:lnTo>
                    <a:lnTo>
                      <a:pt x="77" y="4"/>
                    </a:lnTo>
                    <a:lnTo>
                      <a:pt x="78" y="3"/>
                    </a:lnTo>
                    <a:lnTo>
                      <a:pt x="79" y="2"/>
                    </a:lnTo>
                    <a:lnTo>
                      <a:pt x="81" y="2"/>
                    </a:lnTo>
                    <a:lnTo>
                      <a:pt x="82" y="1"/>
                    </a:lnTo>
                    <a:lnTo>
                      <a:pt x="83" y="1"/>
                    </a:lnTo>
                    <a:lnTo>
                      <a:pt x="84" y="0"/>
                    </a:lnTo>
                    <a:lnTo>
                      <a:pt x="85" y="0"/>
                    </a:lnTo>
                    <a:lnTo>
                      <a:pt x="87" y="0"/>
                    </a:lnTo>
                    <a:lnTo>
                      <a:pt x="88" y="0"/>
                    </a:lnTo>
                    <a:lnTo>
                      <a:pt x="89" y="0"/>
                    </a:lnTo>
                    <a:lnTo>
                      <a:pt x="91" y="0"/>
                    </a:lnTo>
                    <a:lnTo>
                      <a:pt x="92" y="0"/>
                    </a:lnTo>
                    <a:lnTo>
                      <a:pt x="93" y="0"/>
                    </a:lnTo>
                    <a:lnTo>
                      <a:pt x="95" y="0"/>
                    </a:lnTo>
                    <a:lnTo>
                      <a:pt x="96" y="0"/>
                    </a:lnTo>
                    <a:lnTo>
                      <a:pt x="98" y="0"/>
                    </a:lnTo>
                    <a:lnTo>
                      <a:pt x="100" y="1"/>
                    </a:lnTo>
                    <a:lnTo>
                      <a:pt x="103" y="1"/>
                    </a:lnTo>
                    <a:lnTo>
                      <a:pt x="106" y="2"/>
                    </a:lnTo>
                    <a:lnTo>
                      <a:pt x="109" y="3"/>
                    </a:lnTo>
                    <a:lnTo>
                      <a:pt x="111" y="4"/>
                    </a:lnTo>
                    <a:lnTo>
                      <a:pt x="114" y="5"/>
                    </a:lnTo>
                    <a:lnTo>
                      <a:pt x="117" y="6"/>
                    </a:lnTo>
                    <a:lnTo>
                      <a:pt x="117" y="5"/>
                    </a:lnTo>
                    <a:lnTo>
                      <a:pt x="118" y="5"/>
                    </a:lnTo>
                    <a:lnTo>
                      <a:pt x="119" y="5"/>
                    </a:lnTo>
                    <a:lnTo>
                      <a:pt x="119" y="5"/>
                    </a:lnTo>
                    <a:lnTo>
                      <a:pt x="120" y="5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1" y="4"/>
                    </a:lnTo>
                    <a:lnTo>
                      <a:pt x="121" y="4"/>
                    </a:lnTo>
                    <a:lnTo>
                      <a:pt x="121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3" y="4"/>
                    </a:lnTo>
                    <a:lnTo>
                      <a:pt x="123" y="3"/>
                    </a:lnTo>
                    <a:lnTo>
                      <a:pt x="123" y="3"/>
                    </a:lnTo>
                    <a:lnTo>
                      <a:pt x="124" y="3"/>
                    </a:lnTo>
                    <a:lnTo>
                      <a:pt x="124" y="3"/>
                    </a:lnTo>
                    <a:lnTo>
                      <a:pt x="125" y="3"/>
                    </a:lnTo>
                    <a:lnTo>
                      <a:pt x="125" y="3"/>
                    </a:lnTo>
                    <a:lnTo>
                      <a:pt x="125" y="3"/>
                    </a:lnTo>
                    <a:lnTo>
                      <a:pt x="126" y="2"/>
                    </a:lnTo>
                    <a:lnTo>
                      <a:pt x="127" y="2"/>
                    </a:lnTo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  <a:defRPr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Freeform 11"/>
              <p:cNvSpPr>
                <a:spLocks/>
              </p:cNvSpPr>
              <p:nvPr/>
            </p:nvSpPr>
            <p:spPr bwMode="auto">
              <a:xfrm>
                <a:off x="2634136" y="3848182"/>
                <a:ext cx="1967206" cy="1788168"/>
              </a:xfrm>
              <a:custGeom>
                <a:avLst/>
                <a:gdLst/>
                <a:ahLst/>
                <a:cxnLst>
                  <a:cxn ang="0">
                    <a:pos x="107" y="35"/>
                  </a:cxn>
                  <a:cxn ang="0">
                    <a:pos x="125" y="42"/>
                  </a:cxn>
                  <a:cxn ang="0">
                    <a:pos x="152" y="58"/>
                  </a:cxn>
                  <a:cxn ang="0">
                    <a:pos x="180" y="59"/>
                  </a:cxn>
                  <a:cxn ang="0">
                    <a:pos x="185" y="69"/>
                  </a:cxn>
                  <a:cxn ang="0">
                    <a:pos x="183" y="80"/>
                  </a:cxn>
                  <a:cxn ang="0">
                    <a:pos x="189" y="87"/>
                  </a:cxn>
                  <a:cxn ang="0">
                    <a:pos x="190" y="110"/>
                  </a:cxn>
                  <a:cxn ang="0">
                    <a:pos x="198" y="117"/>
                  </a:cxn>
                  <a:cxn ang="0">
                    <a:pos x="197" y="131"/>
                  </a:cxn>
                  <a:cxn ang="0">
                    <a:pos x="193" y="139"/>
                  </a:cxn>
                  <a:cxn ang="0">
                    <a:pos x="195" y="145"/>
                  </a:cxn>
                  <a:cxn ang="0">
                    <a:pos x="165" y="163"/>
                  </a:cxn>
                  <a:cxn ang="0">
                    <a:pos x="160" y="156"/>
                  </a:cxn>
                  <a:cxn ang="0">
                    <a:pos x="161" y="151"/>
                  </a:cxn>
                  <a:cxn ang="0">
                    <a:pos x="159" y="149"/>
                  </a:cxn>
                  <a:cxn ang="0">
                    <a:pos x="157" y="150"/>
                  </a:cxn>
                  <a:cxn ang="0">
                    <a:pos x="151" y="151"/>
                  </a:cxn>
                  <a:cxn ang="0">
                    <a:pos x="151" y="147"/>
                  </a:cxn>
                  <a:cxn ang="0">
                    <a:pos x="147" y="140"/>
                  </a:cxn>
                  <a:cxn ang="0">
                    <a:pos x="144" y="137"/>
                  </a:cxn>
                  <a:cxn ang="0">
                    <a:pos x="139" y="134"/>
                  </a:cxn>
                  <a:cxn ang="0">
                    <a:pos x="135" y="129"/>
                  </a:cxn>
                  <a:cxn ang="0">
                    <a:pos x="132" y="125"/>
                  </a:cxn>
                  <a:cxn ang="0">
                    <a:pos x="129" y="127"/>
                  </a:cxn>
                  <a:cxn ang="0">
                    <a:pos x="125" y="129"/>
                  </a:cxn>
                  <a:cxn ang="0">
                    <a:pos x="118" y="132"/>
                  </a:cxn>
                  <a:cxn ang="0">
                    <a:pos x="113" y="130"/>
                  </a:cxn>
                  <a:cxn ang="0">
                    <a:pos x="99" y="128"/>
                  </a:cxn>
                  <a:cxn ang="0">
                    <a:pos x="93" y="127"/>
                  </a:cxn>
                  <a:cxn ang="0">
                    <a:pos x="88" y="128"/>
                  </a:cxn>
                  <a:cxn ang="0">
                    <a:pos x="78" y="129"/>
                  </a:cxn>
                  <a:cxn ang="0">
                    <a:pos x="65" y="128"/>
                  </a:cxn>
                  <a:cxn ang="0">
                    <a:pos x="61" y="124"/>
                  </a:cxn>
                  <a:cxn ang="0">
                    <a:pos x="59" y="121"/>
                  </a:cxn>
                  <a:cxn ang="0">
                    <a:pos x="56" y="116"/>
                  </a:cxn>
                  <a:cxn ang="0">
                    <a:pos x="51" y="110"/>
                  </a:cxn>
                  <a:cxn ang="0">
                    <a:pos x="50" y="102"/>
                  </a:cxn>
                  <a:cxn ang="0">
                    <a:pos x="46" y="99"/>
                  </a:cxn>
                  <a:cxn ang="0">
                    <a:pos x="42" y="97"/>
                  </a:cxn>
                  <a:cxn ang="0">
                    <a:pos x="38" y="92"/>
                  </a:cxn>
                  <a:cxn ang="0">
                    <a:pos x="35" y="90"/>
                  </a:cxn>
                  <a:cxn ang="0">
                    <a:pos x="28" y="84"/>
                  </a:cxn>
                  <a:cxn ang="0">
                    <a:pos x="24" y="82"/>
                  </a:cxn>
                  <a:cxn ang="0">
                    <a:pos x="20" y="77"/>
                  </a:cxn>
                  <a:cxn ang="0">
                    <a:pos x="17" y="75"/>
                  </a:cxn>
                  <a:cxn ang="0">
                    <a:pos x="10" y="69"/>
                  </a:cxn>
                  <a:cxn ang="0">
                    <a:pos x="7" y="67"/>
                  </a:cxn>
                  <a:cxn ang="0">
                    <a:pos x="2" y="63"/>
                  </a:cxn>
                  <a:cxn ang="0">
                    <a:pos x="0" y="59"/>
                  </a:cxn>
                  <a:cxn ang="0">
                    <a:pos x="8" y="49"/>
                  </a:cxn>
                  <a:cxn ang="0">
                    <a:pos x="18" y="41"/>
                  </a:cxn>
                  <a:cxn ang="0">
                    <a:pos x="35" y="26"/>
                  </a:cxn>
                  <a:cxn ang="0">
                    <a:pos x="44" y="18"/>
                  </a:cxn>
                  <a:cxn ang="0">
                    <a:pos x="51" y="20"/>
                  </a:cxn>
                  <a:cxn ang="0">
                    <a:pos x="59" y="5"/>
                  </a:cxn>
                  <a:cxn ang="0">
                    <a:pos x="70" y="1"/>
                  </a:cxn>
                  <a:cxn ang="0">
                    <a:pos x="81" y="11"/>
                  </a:cxn>
                  <a:cxn ang="0">
                    <a:pos x="92" y="24"/>
                  </a:cxn>
                </a:cxnLst>
                <a:rect l="0" t="0" r="r" b="b"/>
                <a:pathLst>
                  <a:path w="198" h="167">
                    <a:moveTo>
                      <a:pt x="98" y="25"/>
                    </a:moveTo>
                    <a:lnTo>
                      <a:pt x="99" y="27"/>
                    </a:lnTo>
                    <a:lnTo>
                      <a:pt x="99" y="28"/>
                    </a:lnTo>
                    <a:lnTo>
                      <a:pt x="100" y="30"/>
                    </a:lnTo>
                    <a:lnTo>
                      <a:pt x="101" y="31"/>
                    </a:lnTo>
                    <a:lnTo>
                      <a:pt x="102" y="32"/>
                    </a:lnTo>
                    <a:lnTo>
                      <a:pt x="103" y="33"/>
                    </a:lnTo>
                    <a:lnTo>
                      <a:pt x="104" y="34"/>
                    </a:lnTo>
                    <a:lnTo>
                      <a:pt x="106" y="35"/>
                    </a:lnTo>
                    <a:lnTo>
                      <a:pt x="107" y="35"/>
                    </a:lnTo>
                    <a:lnTo>
                      <a:pt x="109" y="36"/>
                    </a:lnTo>
                    <a:lnTo>
                      <a:pt x="110" y="37"/>
                    </a:lnTo>
                    <a:lnTo>
                      <a:pt x="112" y="37"/>
                    </a:lnTo>
                    <a:lnTo>
                      <a:pt x="114" y="38"/>
                    </a:lnTo>
                    <a:lnTo>
                      <a:pt x="116" y="38"/>
                    </a:lnTo>
                    <a:lnTo>
                      <a:pt x="118" y="38"/>
                    </a:lnTo>
                    <a:lnTo>
                      <a:pt x="120" y="39"/>
                    </a:lnTo>
                    <a:lnTo>
                      <a:pt x="121" y="40"/>
                    </a:lnTo>
                    <a:lnTo>
                      <a:pt x="123" y="41"/>
                    </a:lnTo>
                    <a:lnTo>
                      <a:pt x="125" y="42"/>
                    </a:lnTo>
                    <a:lnTo>
                      <a:pt x="127" y="44"/>
                    </a:lnTo>
                    <a:lnTo>
                      <a:pt x="131" y="46"/>
                    </a:lnTo>
                    <a:lnTo>
                      <a:pt x="134" y="48"/>
                    </a:lnTo>
                    <a:lnTo>
                      <a:pt x="138" y="51"/>
                    </a:lnTo>
                    <a:lnTo>
                      <a:pt x="142" y="53"/>
                    </a:lnTo>
                    <a:lnTo>
                      <a:pt x="144" y="54"/>
                    </a:lnTo>
                    <a:lnTo>
                      <a:pt x="146" y="56"/>
                    </a:lnTo>
                    <a:lnTo>
                      <a:pt x="148" y="57"/>
                    </a:lnTo>
                    <a:lnTo>
                      <a:pt x="149" y="58"/>
                    </a:lnTo>
                    <a:lnTo>
                      <a:pt x="152" y="58"/>
                    </a:lnTo>
                    <a:lnTo>
                      <a:pt x="154" y="58"/>
                    </a:lnTo>
                    <a:lnTo>
                      <a:pt x="157" y="58"/>
                    </a:lnTo>
                    <a:lnTo>
                      <a:pt x="159" y="58"/>
                    </a:lnTo>
                    <a:lnTo>
                      <a:pt x="164" y="58"/>
                    </a:lnTo>
                    <a:lnTo>
                      <a:pt x="169" y="58"/>
                    </a:lnTo>
                    <a:lnTo>
                      <a:pt x="171" y="58"/>
                    </a:lnTo>
                    <a:lnTo>
                      <a:pt x="174" y="58"/>
                    </a:lnTo>
                    <a:lnTo>
                      <a:pt x="176" y="58"/>
                    </a:lnTo>
                    <a:lnTo>
                      <a:pt x="178" y="58"/>
                    </a:lnTo>
                    <a:lnTo>
                      <a:pt x="180" y="59"/>
                    </a:lnTo>
                    <a:lnTo>
                      <a:pt x="182" y="59"/>
                    </a:lnTo>
                    <a:lnTo>
                      <a:pt x="184" y="59"/>
                    </a:lnTo>
                    <a:lnTo>
                      <a:pt x="186" y="60"/>
                    </a:lnTo>
                    <a:lnTo>
                      <a:pt x="186" y="61"/>
                    </a:lnTo>
                    <a:lnTo>
                      <a:pt x="186" y="63"/>
                    </a:lnTo>
                    <a:lnTo>
                      <a:pt x="186" y="64"/>
                    </a:lnTo>
                    <a:lnTo>
                      <a:pt x="186" y="65"/>
                    </a:lnTo>
                    <a:lnTo>
                      <a:pt x="186" y="66"/>
                    </a:lnTo>
                    <a:lnTo>
                      <a:pt x="186" y="67"/>
                    </a:lnTo>
                    <a:lnTo>
                      <a:pt x="185" y="69"/>
                    </a:lnTo>
                    <a:lnTo>
                      <a:pt x="184" y="71"/>
                    </a:lnTo>
                    <a:lnTo>
                      <a:pt x="184" y="73"/>
                    </a:lnTo>
                    <a:lnTo>
                      <a:pt x="183" y="75"/>
                    </a:lnTo>
                    <a:lnTo>
                      <a:pt x="183" y="76"/>
                    </a:lnTo>
                    <a:lnTo>
                      <a:pt x="183" y="77"/>
                    </a:lnTo>
                    <a:lnTo>
                      <a:pt x="183" y="77"/>
                    </a:lnTo>
                    <a:lnTo>
                      <a:pt x="183" y="78"/>
                    </a:lnTo>
                    <a:lnTo>
                      <a:pt x="183" y="79"/>
                    </a:lnTo>
                    <a:lnTo>
                      <a:pt x="183" y="79"/>
                    </a:lnTo>
                    <a:lnTo>
                      <a:pt x="183" y="80"/>
                    </a:lnTo>
                    <a:lnTo>
                      <a:pt x="183" y="81"/>
                    </a:lnTo>
                    <a:lnTo>
                      <a:pt x="184" y="82"/>
                    </a:lnTo>
                    <a:lnTo>
                      <a:pt x="184" y="82"/>
                    </a:lnTo>
                    <a:lnTo>
                      <a:pt x="185" y="83"/>
                    </a:lnTo>
                    <a:lnTo>
                      <a:pt x="185" y="84"/>
                    </a:lnTo>
                    <a:lnTo>
                      <a:pt x="187" y="85"/>
                    </a:lnTo>
                    <a:lnTo>
                      <a:pt x="187" y="85"/>
                    </a:lnTo>
                    <a:lnTo>
                      <a:pt x="188" y="86"/>
                    </a:lnTo>
                    <a:lnTo>
                      <a:pt x="188" y="86"/>
                    </a:lnTo>
                    <a:lnTo>
                      <a:pt x="189" y="87"/>
                    </a:lnTo>
                    <a:lnTo>
                      <a:pt x="189" y="88"/>
                    </a:lnTo>
                    <a:lnTo>
                      <a:pt x="189" y="88"/>
                    </a:lnTo>
                    <a:lnTo>
                      <a:pt x="189" y="93"/>
                    </a:lnTo>
                    <a:lnTo>
                      <a:pt x="189" y="98"/>
                    </a:lnTo>
                    <a:lnTo>
                      <a:pt x="189" y="102"/>
                    </a:lnTo>
                    <a:lnTo>
                      <a:pt x="189" y="107"/>
                    </a:lnTo>
                    <a:lnTo>
                      <a:pt x="190" y="108"/>
                    </a:lnTo>
                    <a:lnTo>
                      <a:pt x="190" y="109"/>
                    </a:lnTo>
                    <a:lnTo>
                      <a:pt x="190" y="110"/>
                    </a:lnTo>
                    <a:lnTo>
                      <a:pt x="190" y="110"/>
                    </a:lnTo>
                    <a:lnTo>
                      <a:pt x="191" y="111"/>
                    </a:lnTo>
                    <a:lnTo>
                      <a:pt x="191" y="112"/>
                    </a:lnTo>
                    <a:lnTo>
                      <a:pt x="192" y="112"/>
                    </a:lnTo>
                    <a:lnTo>
                      <a:pt x="193" y="113"/>
                    </a:lnTo>
                    <a:lnTo>
                      <a:pt x="194" y="113"/>
                    </a:lnTo>
                    <a:lnTo>
                      <a:pt x="195" y="114"/>
                    </a:lnTo>
                    <a:lnTo>
                      <a:pt x="196" y="115"/>
                    </a:lnTo>
                    <a:lnTo>
                      <a:pt x="197" y="115"/>
                    </a:lnTo>
                    <a:lnTo>
                      <a:pt x="197" y="116"/>
                    </a:lnTo>
                    <a:lnTo>
                      <a:pt x="198" y="117"/>
                    </a:lnTo>
                    <a:lnTo>
                      <a:pt x="198" y="118"/>
                    </a:lnTo>
                    <a:lnTo>
                      <a:pt x="198" y="120"/>
                    </a:lnTo>
                    <a:lnTo>
                      <a:pt x="198" y="122"/>
                    </a:lnTo>
                    <a:lnTo>
                      <a:pt x="198" y="123"/>
                    </a:lnTo>
                    <a:lnTo>
                      <a:pt x="198" y="125"/>
                    </a:lnTo>
                    <a:lnTo>
                      <a:pt x="198" y="126"/>
                    </a:lnTo>
                    <a:lnTo>
                      <a:pt x="198" y="127"/>
                    </a:lnTo>
                    <a:lnTo>
                      <a:pt x="198" y="129"/>
                    </a:lnTo>
                    <a:lnTo>
                      <a:pt x="197" y="130"/>
                    </a:lnTo>
                    <a:lnTo>
                      <a:pt x="197" y="131"/>
                    </a:lnTo>
                    <a:lnTo>
                      <a:pt x="196" y="132"/>
                    </a:lnTo>
                    <a:lnTo>
                      <a:pt x="196" y="133"/>
                    </a:lnTo>
                    <a:lnTo>
                      <a:pt x="195" y="134"/>
                    </a:lnTo>
                    <a:lnTo>
                      <a:pt x="195" y="135"/>
                    </a:lnTo>
                    <a:lnTo>
                      <a:pt x="194" y="136"/>
                    </a:lnTo>
                    <a:lnTo>
                      <a:pt x="193" y="137"/>
                    </a:lnTo>
                    <a:lnTo>
                      <a:pt x="193" y="137"/>
                    </a:lnTo>
                    <a:lnTo>
                      <a:pt x="192" y="138"/>
                    </a:lnTo>
                    <a:lnTo>
                      <a:pt x="192" y="139"/>
                    </a:lnTo>
                    <a:lnTo>
                      <a:pt x="193" y="139"/>
                    </a:lnTo>
                    <a:lnTo>
                      <a:pt x="193" y="140"/>
                    </a:lnTo>
                    <a:lnTo>
                      <a:pt x="193" y="140"/>
                    </a:lnTo>
                    <a:lnTo>
                      <a:pt x="193" y="141"/>
                    </a:lnTo>
                    <a:lnTo>
                      <a:pt x="194" y="142"/>
                    </a:lnTo>
                    <a:lnTo>
                      <a:pt x="194" y="142"/>
                    </a:lnTo>
                    <a:lnTo>
                      <a:pt x="194" y="143"/>
                    </a:lnTo>
                    <a:lnTo>
                      <a:pt x="195" y="143"/>
                    </a:lnTo>
                    <a:lnTo>
                      <a:pt x="195" y="144"/>
                    </a:lnTo>
                    <a:lnTo>
                      <a:pt x="195" y="144"/>
                    </a:lnTo>
                    <a:lnTo>
                      <a:pt x="195" y="145"/>
                    </a:lnTo>
                    <a:lnTo>
                      <a:pt x="192" y="146"/>
                    </a:lnTo>
                    <a:lnTo>
                      <a:pt x="190" y="148"/>
                    </a:lnTo>
                    <a:lnTo>
                      <a:pt x="188" y="149"/>
                    </a:lnTo>
                    <a:lnTo>
                      <a:pt x="186" y="150"/>
                    </a:lnTo>
                    <a:lnTo>
                      <a:pt x="182" y="153"/>
                    </a:lnTo>
                    <a:lnTo>
                      <a:pt x="178" y="156"/>
                    </a:lnTo>
                    <a:lnTo>
                      <a:pt x="173" y="158"/>
                    </a:lnTo>
                    <a:lnTo>
                      <a:pt x="169" y="161"/>
                    </a:lnTo>
                    <a:lnTo>
                      <a:pt x="167" y="162"/>
                    </a:lnTo>
                    <a:lnTo>
                      <a:pt x="165" y="163"/>
                    </a:lnTo>
                    <a:lnTo>
                      <a:pt x="163" y="165"/>
                    </a:lnTo>
                    <a:lnTo>
                      <a:pt x="161" y="167"/>
                    </a:lnTo>
                    <a:lnTo>
                      <a:pt x="161" y="167"/>
                    </a:lnTo>
                    <a:lnTo>
                      <a:pt x="160" y="167"/>
                    </a:lnTo>
                    <a:lnTo>
                      <a:pt x="160" y="167"/>
                    </a:lnTo>
                    <a:lnTo>
                      <a:pt x="159" y="167"/>
                    </a:lnTo>
                    <a:lnTo>
                      <a:pt x="159" y="157"/>
                    </a:lnTo>
                    <a:lnTo>
                      <a:pt x="160" y="157"/>
                    </a:lnTo>
                    <a:lnTo>
                      <a:pt x="160" y="156"/>
                    </a:lnTo>
                    <a:lnTo>
                      <a:pt x="160" y="156"/>
                    </a:lnTo>
                    <a:lnTo>
                      <a:pt x="160" y="156"/>
                    </a:lnTo>
                    <a:lnTo>
                      <a:pt x="161" y="156"/>
                    </a:lnTo>
                    <a:lnTo>
                      <a:pt x="161" y="155"/>
                    </a:lnTo>
                    <a:lnTo>
                      <a:pt x="161" y="155"/>
                    </a:lnTo>
                    <a:lnTo>
                      <a:pt x="161" y="154"/>
                    </a:lnTo>
                    <a:lnTo>
                      <a:pt x="161" y="153"/>
                    </a:lnTo>
                    <a:lnTo>
                      <a:pt x="161" y="152"/>
                    </a:lnTo>
                    <a:lnTo>
                      <a:pt x="161" y="152"/>
                    </a:lnTo>
                    <a:lnTo>
                      <a:pt x="161" y="151"/>
                    </a:lnTo>
                    <a:lnTo>
                      <a:pt x="161" y="151"/>
                    </a:lnTo>
                    <a:lnTo>
                      <a:pt x="161" y="150"/>
                    </a:lnTo>
                    <a:lnTo>
                      <a:pt x="161" y="150"/>
                    </a:lnTo>
                    <a:lnTo>
                      <a:pt x="160" y="150"/>
                    </a:lnTo>
                    <a:lnTo>
                      <a:pt x="160" y="150"/>
                    </a:lnTo>
                    <a:lnTo>
                      <a:pt x="160" y="150"/>
                    </a:lnTo>
                    <a:lnTo>
                      <a:pt x="159" y="150"/>
                    </a:lnTo>
                    <a:lnTo>
                      <a:pt x="159" y="150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8" y="149"/>
                    </a:lnTo>
                    <a:lnTo>
                      <a:pt x="158" y="149"/>
                    </a:lnTo>
                    <a:lnTo>
                      <a:pt x="158" y="149"/>
                    </a:lnTo>
                    <a:lnTo>
                      <a:pt x="158" y="150"/>
                    </a:lnTo>
                    <a:lnTo>
                      <a:pt x="158" y="150"/>
                    </a:lnTo>
                    <a:lnTo>
                      <a:pt x="158" y="150"/>
                    </a:lnTo>
                    <a:lnTo>
                      <a:pt x="157" y="150"/>
                    </a:lnTo>
                    <a:lnTo>
                      <a:pt x="157" y="151"/>
                    </a:lnTo>
                    <a:lnTo>
                      <a:pt x="156" y="151"/>
                    </a:lnTo>
                    <a:lnTo>
                      <a:pt x="155" y="151"/>
                    </a:lnTo>
                    <a:lnTo>
                      <a:pt x="155" y="151"/>
                    </a:lnTo>
                    <a:lnTo>
                      <a:pt x="154" y="152"/>
                    </a:lnTo>
                    <a:lnTo>
                      <a:pt x="153" y="152"/>
                    </a:lnTo>
                    <a:lnTo>
                      <a:pt x="153" y="152"/>
                    </a:lnTo>
                    <a:lnTo>
                      <a:pt x="152" y="152"/>
                    </a:lnTo>
                    <a:lnTo>
                      <a:pt x="152" y="151"/>
                    </a:lnTo>
                    <a:lnTo>
                      <a:pt x="151" y="151"/>
                    </a:lnTo>
                    <a:lnTo>
                      <a:pt x="151" y="151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1" y="149"/>
                    </a:lnTo>
                    <a:lnTo>
                      <a:pt x="151" y="149"/>
                    </a:lnTo>
                    <a:lnTo>
                      <a:pt x="151" y="148"/>
                    </a:lnTo>
                    <a:lnTo>
                      <a:pt x="151" y="148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0" y="147"/>
                    </a:lnTo>
                    <a:lnTo>
                      <a:pt x="149" y="147"/>
                    </a:lnTo>
                    <a:lnTo>
                      <a:pt x="149" y="145"/>
                    </a:lnTo>
                    <a:lnTo>
                      <a:pt x="149" y="144"/>
                    </a:lnTo>
                    <a:lnTo>
                      <a:pt x="149" y="143"/>
                    </a:lnTo>
                    <a:lnTo>
                      <a:pt x="148" y="141"/>
                    </a:lnTo>
                    <a:lnTo>
                      <a:pt x="147" y="140"/>
                    </a:lnTo>
                    <a:lnTo>
                      <a:pt x="147" y="140"/>
                    </a:lnTo>
                    <a:lnTo>
                      <a:pt x="146" y="139"/>
                    </a:lnTo>
                    <a:lnTo>
                      <a:pt x="146" y="139"/>
                    </a:lnTo>
                    <a:lnTo>
                      <a:pt x="145" y="138"/>
                    </a:lnTo>
                    <a:lnTo>
                      <a:pt x="145" y="138"/>
                    </a:lnTo>
                    <a:lnTo>
                      <a:pt x="145" y="138"/>
                    </a:lnTo>
                    <a:lnTo>
                      <a:pt x="145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3" y="137"/>
                    </a:lnTo>
                    <a:lnTo>
                      <a:pt x="142" y="137"/>
                    </a:lnTo>
                    <a:lnTo>
                      <a:pt x="142" y="137"/>
                    </a:lnTo>
                    <a:lnTo>
                      <a:pt x="142" y="137"/>
                    </a:lnTo>
                    <a:lnTo>
                      <a:pt x="141" y="137"/>
                    </a:lnTo>
                    <a:lnTo>
                      <a:pt x="141" y="136"/>
                    </a:lnTo>
                    <a:lnTo>
                      <a:pt x="141" y="135"/>
                    </a:lnTo>
                    <a:lnTo>
                      <a:pt x="140" y="135"/>
                    </a:lnTo>
                    <a:lnTo>
                      <a:pt x="140" y="135"/>
                    </a:lnTo>
                    <a:lnTo>
                      <a:pt x="139" y="134"/>
                    </a:lnTo>
                    <a:lnTo>
                      <a:pt x="139" y="134"/>
                    </a:lnTo>
                    <a:lnTo>
                      <a:pt x="138" y="133"/>
                    </a:lnTo>
                    <a:lnTo>
                      <a:pt x="138" y="133"/>
                    </a:lnTo>
                    <a:lnTo>
                      <a:pt x="138" y="132"/>
                    </a:lnTo>
                    <a:lnTo>
                      <a:pt x="137" y="132"/>
                    </a:lnTo>
                    <a:lnTo>
                      <a:pt x="137" y="131"/>
                    </a:lnTo>
                    <a:lnTo>
                      <a:pt x="136" y="131"/>
                    </a:lnTo>
                    <a:lnTo>
                      <a:pt x="136" y="130"/>
                    </a:lnTo>
                    <a:lnTo>
                      <a:pt x="135" y="130"/>
                    </a:lnTo>
                    <a:lnTo>
                      <a:pt x="135" y="129"/>
                    </a:lnTo>
                    <a:lnTo>
                      <a:pt x="135" y="129"/>
                    </a:lnTo>
                    <a:lnTo>
                      <a:pt x="134" y="128"/>
                    </a:lnTo>
                    <a:lnTo>
                      <a:pt x="134" y="128"/>
                    </a:lnTo>
                    <a:lnTo>
                      <a:pt x="134" y="127"/>
                    </a:lnTo>
                    <a:lnTo>
                      <a:pt x="134" y="127"/>
                    </a:lnTo>
                    <a:lnTo>
                      <a:pt x="134" y="126"/>
                    </a:lnTo>
                    <a:lnTo>
                      <a:pt x="133" y="126"/>
                    </a:lnTo>
                    <a:lnTo>
                      <a:pt x="133" y="125"/>
                    </a:lnTo>
                    <a:lnTo>
                      <a:pt x="133" y="125"/>
                    </a:lnTo>
                    <a:lnTo>
                      <a:pt x="132" y="125"/>
                    </a:lnTo>
                    <a:lnTo>
                      <a:pt x="132" y="125"/>
                    </a:lnTo>
                    <a:lnTo>
                      <a:pt x="131" y="125"/>
                    </a:lnTo>
                    <a:lnTo>
                      <a:pt x="131" y="125"/>
                    </a:lnTo>
                    <a:lnTo>
                      <a:pt x="130" y="125"/>
                    </a:lnTo>
                    <a:lnTo>
                      <a:pt x="130" y="126"/>
                    </a:lnTo>
                    <a:lnTo>
                      <a:pt x="130" y="126"/>
                    </a:lnTo>
                    <a:lnTo>
                      <a:pt x="130" y="126"/>
                    </a:lnTo>
                    <a:lnTo>
                      <a:pt x="130" y="127"/>
                    </a:lnTo>
                    <a:lnTo>
                      <a:pt x="129" y="127"/>
                    </a:lnTo>
                    <a:lnTo>
                      <a:pt x="129" y="127"/>
                    </a:lnTo>
                    <a:lnTo>
                      <a:pt x="128" y="127"/>
                    </a:lnTo>
                    <a:lnTo>
                      <a:pt x="128" y="127"/>
                    </a:lnTo>
                    <a:lnTo>
                      <a:pt x="127" y="128"/>
                    </a:lnTo>
                    <a:lnTo>
                      <a:pt x="127" y="128"/>
                    </a:lnTo>
                    <a:lnTo>
                      <a:pt x="126" y="128"/>
                    </a:lnTo>
                    <a:lnTo>
                      <a:pt x="126" y="128"/>
                    </a:lnTo>
                    <a:lnTo>
                      <a:pt x="125" y="128"/>
                    </a:lnTo>
                    <a:lnTo>
                      <a:pt x="125" y="128"/>
                    </a:lnTo>
                    <a:lnTo>
                      <a:pt x="125" y="128"/>
                    </a:lnTo>
                    <a:lnTo>
                      <a:pt x="125" y="129"/>
                    </a:lnTo>
                    <a:lnTo>
                      <a:pt x="125" y="129"/>
                    </a:lnTo>
                    <a:lnTo>
                      <a:pt x="124" y="129"/>
                    </a:lnTo>
                    <a:lnTo>
                      <a:pt x="124" y="130"/>
                    </a:lnTo>
                    <a:lnTo>
                      <a:pt x="124" y="130"/>
                    </a:lnTo>
                    <a:lnTo>
                      <a:pt x="123" y="131"/>
                    </a:lnTo>
                    <a:lnTo>
                      <a:pt x="122" y="131"/>
                    </a:lnTo>
                    <a:lnTo>
                      <a:pt x="121" y="131"/>
                    </a:lnTo>
                    <a:lnTo>
                      <a:pt x="120" y="132"/>
                    </a:lnTo>
                    <a:lnTo>
                      <a:pt x="119" y="132"/>
                    </a:lnTo>
                    <a:lnTo>
                      <a:pt x="118" y="132"/>
                    </a:lnTo>
                    <a:lnTo>
                      <a:pt x="116" y="132"/>
                    </a:lnTo>
                    <a:lnTo>
                      <a:pt x="116" y="131"/>
                    </a:lnTo>
                    <a:lnTo>
                      <a:pt x="116" y="131"/>
                    </a:lnTo>
                    <a:lnTo>
                      <a:pt x="116" y="131"/>
                    </a:lnTo>
                    <a:lnTo>
                      <a:pt x="115" y="131"/>
                    </a:lnTo>
                    <a:lnTo>
                      <a:pt x="115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3" y="130"/>
                    </a:lnTo>
                    <a:lnTo>
                      <a:pt x="113" y="130"/>
                    </a:lnTo>
                    <a:lnTo>
                      <a:pt x="110" y="130"/>
                    </a:lnTo>
                    <a:lnTo>
                      <a:pt x="106" y="130"/>
                    </a:lnTo>
                    <a:lnTo>
                      <a:pt x="103" y="130"/>
                    </a:lnTo>
                    <a:lnTo>
                      <a:pt x="100" y="130"/>
                    </a:lnTo>
                    <a:lnTo>
                      <a:pt x="100" y="129"/>
                    </a:lnTo>
                    <a:lnTo>
                      <a:pt x="100" y="129"/>
                    </a:lnTo>
                    <a:lnTo>
                      <a:pt x="99" y="129"/>
                    </a:lnTo>
                    <a:lnTo>
                      <a:pt x="99" y="128"/>
                    </a:lnTo>
                    <a:lnTo>
                      <a:pt x="99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7" y="128"/>
                    </a:lnTo>
                    <a:lnTo>
                      <a:pt x="97" y="128"/>
                    </a:lnTo>
                    <a:lnTo>
                      <a:pt x="96" y="128"/>
                    </a:lnTo>
                    <a:lnTo>
                      <a:pt x="96" y="128"/>
                    </a:lnTo>
                    <a:lnTo>
                      <a:pt x="95" y="128"/>
                    </a:lnTo>
                    <a:lnTo>
                      <a:pt x="94" y="127"/>
                    </a:lnTo>
                    <a:lnTo>
                      <a:pt x="94" y="127"/>
                    </a:lnTo>
                    <a:lnTo>
                      <a:pt x="93" y="127"/>
                    </a:lnTo>
                    <a:lnTo>
                      <a:pt x="93" y="127"/>
                    </a:lnTo>
                    <a:lnTo>
                      <a:pt x="92" y="127"/>
                    </a:lnTo>
                    <a:lnTo>
                      <a:pt x="92" y="127"/>
                    </a:lnTo>
                    <a:lnTo>
                      <a:pt x="91" y="127"/>
                    </a:lnTo>
                    <a:lnTo>
                      <a:pt x="90" y="127"/>
                    </a:lnTo>
                    <a:lnTo>
                      <a:pt x="90" y="127"/>
                    </a:lnTo>
                    <a:lnTo>
                      <a:pt x="89" y="127"/>
                    </a:lnTo>
                    <a:lnTo>
                      <a:pt x="89" y="127"/>
                    </a:lnTo>
                    <a:lnTo>
                      <a:pt x="89" y="127"/>
                    </a:lnTo>
                    <a:lnTo>
                      <a:pt x="88" y="127"/>
                    </a:lnTo>
                    <a:lnTo>
                      <a:pt x="88" y="128"/>
                    </a:lnTo>
                    <a:lnTo>
                      <a:pt x="88" y="128"/>
                    </a:lnTo>
                    <a:lnTo>
                      <a:pt x="86" y="128"/>
                    </a:lnTo>
                    <a:lnTo>
                      <a:pt x="84" y="128"/>
                    </a:lnTo>
                    <a:lnTo>
                      <a:pt x="82" y="128"/>
                    </a:lnTo>
                    <a:lnTo>
                      <a:pt x="80" y="128"/>
                    </a:lnTo>
                    <a:lnTo>
                      <a:pt x="79" y="128"/>
                    </a:lnTo>
                    <a:lnTo>
                      <a:pt x="79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9"/>
                    </a:lnTo>
                    <a:lnTo>
                      <a:pt x="78" y="129"/>
                    </a:lnTo>
                    <a:lnTo>
                      <a:pt x="78" y="129"/>
                    </a:lnTo>
                    <a:lnTo>
                      <a:pt x="78" y="130"/>
                    </a:lnTo>
                    <a:lnTo>
                      <a:pt x="68" y="130"/>
                    </a:lnTo>
                    <a:lnTo>
                      <a:pt x="67" y="130"/>
                    </a:lnTo>
                    <a:lnTo>
                      <a:pt x="67" y="130"/>
                    </a:lnTo>
                    <a:lnTo>
                      <a:pt x="66" y="129"/>
                    </a:lnTo>
                    <a:lnTo>
                      <a:pt x="66" y="129"/>
                    </a:lnTo>
                    <a:lnTo>
                      <a:pt x="65" y="129"/>
                    </a:lnTo>
                    <a:lnTo>
                      <a:pt x="65" y="128"/>
                    </a:lnTo>
                    <a:lnTo>
                      <a:pt x="65" y="128"/>
                    </a:lnTo>
                    <a:lnTo>
                      <a:pt x="65" y="128"/>
                    </a:lnTo>
                    <a:lnTo>
                      <a:pt x="64" y="127"/>
                    </a:lnTo>
                    <a:lnTo>
                      <a:pt x="64" y="127"/>
                    </a:lnTo>
                    <a:lnTo>
                      <a:pt x="63" y="126"/>
                    </a:lnTo>
                    <a:lnTo>
                      <a:pt x="63" y="126"/>
                    </a:lnTo>
                    <a:lnTo>
                      <a:pt x="62" y="125"/>
                    </a:lnTo>
                    <a:lnTo>
                      <a:pt x="62" y="125"/>
                    </a:lnTo>
                    <a:lnTo>
                      <a:pt x="62" y="124"/>
                    </a:lnTo>
                    <a:lnTo>
                      <a:pt x="61" y="124"/>
                    </a:lnTo>
                    <a:lnTo>
                      <a:pt x="61" y="123"/>
                    </a:lnTo>
                    <a:lnTo>
                      <a:pt x="61" y="123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59" y="121"/>
                    </a:lnTo>
                    <a:lnTo>
                      <a:pt x="59" y="121"/>
                    </a:lnTo>
                    <a:lnTo>
                      <a:pt x="59" y="120"/>
                    </a:lnTo>
                    <a:lnTo>
                      <a:pt x="58" y="120"/>
                    </a:lnTo>
                    <a:lnTo>
                      <a:pt x="58" y="119"/>
                    </a:lnTo>
                    <a:lnTo>
                      <a:pt x="57" y="118"/>
                    </a:lnTo>
                    <a:lnTo>
                      <a:pt x="57" y="118"/>
                    </a:lnTo>
                    <a:lnTo>
                      <a:pt x="56" y="117"/>
                    </a:lnTo>
                    <a:lnTo>
                      <a:pt x="56" y="117"/>
                    </a:lnTo>
                    <a:lnTo>
                      <a:pt x="56" y="117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5"/>
                    </a:lnTo>
                    <a:lnTo>
                      <a:pt x="56" y="115"/>
                    </a:lnTo>
                    <a:lnTo>
                      <a:pt x="56" y="115"/>
                    </a:lnTo>
                    <a:lnTo>
                      <a:pt x="55" y="115"/>
                    </a:lnTo>
                    <a:lnTo>
                      <a:pt x="55" y="115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3" y="112"/>
                    </a:lnTo>
                    <a:lnTo>
                      <a:pt x="52" y="111"/>
                    </a:lnTo>
                    <a:lnTo>
                      <a:pt x="51" y="110"/>
                    </a:lnTo>
                    <a:lnTo>
                      <a:pt x="51" y="110"/>
                    </a:lnTo>
                    <a:lnTo>
                      <a:pt x="50" y="109"/>
                    </a:lnTo>
                    <a:lnTo>
                      <a:pt x="50" y="108"/>
                    </a:lnTo>
                    <a:lnTo>
                      <a:pt x="50" y="107"/>
                    </a:lnTo>
                    <a:lnTo>
                      <a:pt x="50" y="106"/>
                    </a:lnTo>
                    <a:lnTo>
                      <a:pt x="50" y="105"/>
                    </a:lnTo>
                    <a:lnTo>
                      <a:pt x="50" y="104"/>
                    </a:lnTo>
                    <a:lnTo>
                      <a:pt x="50" y="103"/>
                    </a:lnTo>
                    <a:lnTo>
                      <a:pt x="50" y="103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49" y="102"/>
                    </a:lnTo>
                    <a:lnTo>
                      <a:pt x="49" y="102"/>
                    </a:lnTo>
                    <a:lnTo>
                      <a:pt x="49" y="102"/>
                    </a:lnTo>
                    <a:lnTo>
                      <a:pt x="48" y="102"/>
                    </a:lnTo>
                    <a:lnTo>
                      <a:pt x="48" y="101"/>
                    </a:lnTo>
                    <a:lnTo>
                      <a:pt x="47" y="100"/>
                    </a:lnTo>
                    <a:lnTo>
                      <a:pt x="47" y="100"/>
                    </a:lnTo>
                    <a:lnTo>
                      <a:pt x="47" y="100"/>
                    </a:lnTo>
                    <a:lnTo>
                      <a:pt x="46" y="99"/>
                    </a:lnTo>
                    <a:lnTo>
                      <a:pt x="46" y="99"/>
                    </a:lnTo>
                    <a:lnTo>
                      <a:pt x="45" y="98"/>
                    </a:lnTo>
                    <a:lnTo>
                      <a:pt x="45" y="98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3" y="97"/>
                    </a:lnTo>
                    <a:lnTo>
                      <a:pt x="42" y="97"/>
                    </a:lnTo>
                    <a:lnTo>
                      <a:pt x="42" y="96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0" y="95"/>
                    </a:lnTo>
                    <a:lnTo>
                      <a:pt x="40" y="94"/>
                    </a:lnTo>
                    <a:lnTo>
                      <a:pt x="39" y="93"/>
                    </a:lnTo>
                    <a:lnTo>
                      <a:pt x="39" y="93"/>
                    </a:lnTo>
                    <a:lnTo>
                      <a:pt x="38" y="93"/>
                    </a:lnTo>
                    <a:lnTo>
                      <a:pt x="38" y="92"/>
                    </a:lnTo>
                    <a:lnTo>
                      <a:pt x="37" y="92"/>
                    </a:lnTo>
                    <a:lnTo>
                      <a:pt x="37" y="92"/>
                    </a:lnTo>
                    <a:lnTo>
                      <a:pt x="36" y="92"/>
                    </a:lnTo>
                    <a:lnTo>
                      <a:pt x="36" y="91"/>
                    </a:lnTo>
                    <a:lnTo>
                      <a:pt x="36" y="91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5" y="90"/>
                    </a:lnTo>
                    <a:lnTo>
                      <a:pt x="35" y="90"/>
                    </a:lnTo>
                    <a:lnTo>
                      <a:pt x="34" y="90"/>
                    </a:lnTo>
                    <a:lnTo>
                      <a:pt x="33" y="89"/>
                    </a:lnTo>
                    <a:lnTo>
                      <a:pt x="33" y="89"/>
                    </a:lnTo>
                    <a:lnTo>
                      <a:pt x="32" y="89"/>
                    </a:lnTo>
                    <a:lnTo>
                      <a:pt x="31" y="88"/>
                    </a:lnTo>
                    <a:lnTo>
                      <a:pt x="30" y="87"/>
                    </a:lnTo>
                    <a:lnTo>
                      <a:pt x="30" y="86"/>
                    </a:lnTo>
                    <a:lnTo>
                      <a:pt x="29" y="85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7" y="84"/>
                    </a:lnTo>
                    <a:lnTo>
                      <a:pt x="26" y="83"/>
                    </a:lnTo>
                    <a:lnTo>
                      <a:pt x="26" y="83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5" y="82"/>
                    </a:lnTo>
                    <a:lnTo>
                      <a:pt x="25" y="82"/>
                    </a:lnTo>
                    <a:lnTo>
                      <a:pt x="24" y="82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2" y="80"/>
                    </a:lnTo>
                    <a:lnTo>
                      <a:pt x="22" y="80"/>
                    </a:lnTo>
                    <a:lnTo>
                      <a:pt x="21" y="79"/>
                    </a:lnTo>
                    <a:lnTo>
                      <a:pt x="21" y="78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20" y="77"/>
                    </a:lnTo>
                    <a:lnTo>
                      <a:pt x="19" y="77"/>
                    </a:lnTo>
                    <a:lnTo>
                      <a:pt x="19" y="77"/>
                    </a:lnTo>
                    <a:lnTo>
                      <a:pt x="18" y="77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7" y="75"/>
                    </a:lnTo>
                    <a:lnTo>
                      <a:pt x="17" y="75"/>
                    </a:lnTo>
                    <a:lnTo>
                      <a:pt x="17" y="75"/>
                    </a:lnTo>
                    <a:lnTo>
                      <a:pt x="16" y="75"/>
                    </a:lnTo>
                    <a:lnTo>
                      <a:pt x="16" y="75"/>
                    </a:lnTo>
                    <a:lnTo>
                      <a:pt x="15" y="75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3" y="73"/>
                    </a:lnTo>
                    <a:lnTo>
                      <a:pt x="12" y="72"/>
                    </a:lnTo>
                    <a:lnTo>
                      <a:pt x="11" y="71"/>
                    </a:lnTo>
                    <a:lnTo>
                      <a:pt x="10" y="70"/>
                    </a:lnTo>
                    <a:lnTo>
                      <a:pt x="10" y="69"/>
                    </a:lnTo>
                    <a:lnTo>
                      <a:pt x="9" y="69"/>
                    </a:lnTo>
                    <a:lnTo>
                      <a:pt x="9" y="69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7"/>
                    </a:lnTo>
                    <a:lnTo>
                      <a:pt x="8" y="67"/>
                    </a:lnTo>
                    <a:lnTo>
                      <a:pt x="7" y="67"/>
                    </a:lnTo>
                    <a:lnTo>
                      <a:pt x="7" y="67"/>
                    </a:lnTo>
                    <a:lnTo>
                      <a:pt x="7" y="67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5" y="66"/>
                    </a:lnTo>
                    <a:lnTo>
                      <a:pt x="5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5"/>
                    </a:lnTo>
                    <a:lnTo>
                      <a:pt x="3" y="64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1" y="62"/>
                    </a:lnTo>
                    <a:lnTo>
                      <a:pt x="1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0"/>
                    </a:lnTo>
                    <a:lnTo>
                      <a:pt x="0" y="59"/>
                    </a:lnTo>
                    <a:lnTo>
                      <a:pt x="1" y="58"/>
                    </a:lnTo>
                    <a:lnTo>
                      <a:pt x="1" y="56"/>
                    </a:lnTo>
                    <a:lnTo>
                      <a:pt x="2" y="55"/>
                    </a:lnTo>
                    <a:lnTo>
                      <a:pt x="2" y="54"/>
                    </a:lnTo>
                    <a:lnTo>
                      <a:pt x="3" y="53"/>
                    </a:lnTo>
                    <a:lnTo>
                      <a:pt x="4" y="52"/>
                    </a:lnTo>
                    <a:lnTo>
                      <a:pt x="5" y="51"/>
                    </a:lnTo>
                    <a:lnTo>
                      <a:pt x="6" y="51"/>
                    </a:lnTo>
                    <a:lnTo>
                      <a:pt x="7" y="50"/>
                    </a:lnTo>
                    <a:lnTo>
                      <a:pt x="8" y="49"/>
                    </a:lnTo>
                    <a:lnTo>
                      <a:pt x="9" y="49"/>
                    </a:lnTo>
                    <a:lnTo>
                      <a:pt x="10" y="48"/>
                    </a:lnTo>
                    <a:lnTo>
                      <a:pt x="12" y="47"/>
                    </a:lnTo>
                    <a:lnTo>
                      <a:pt x="13" y="47"/>
                    </a:lnTo>
                    <a:lnTo>
                      <a:pt x="15" y="47"/>
                    </a:lnTo>
                    <a:lnTo>
                      <a:pt x="15" y="46"/>
                    </a:lnTo>
                    <a:lnTo>
                      <a:pt x="16" y="44"/>
                    </a:lnTo>
                    <a:lnTo>
                      <a:pt x="16" y="43"/>
                    </a:lnTo>
                    <a:lnTo>
                      <a:pt x="17" y="42"/>
                    </a:lnTo>
                    <a:lnTo>
                      <a:pt x="18" y="41"/>
                    </a:lnTo>
                    <a:lnTo>
                      <a:pt x="19" y="41"/>
                    </a:lnTo>
                    <a:lnTo>
                      <a:pt x="20" y="39"/>
                    </a:lnTo>
                    <a:lnTo>
                      <a:pt x="22" y="37"/>
                    </a:lnTo>
                    <a:lnTo>
                      <a:pt x="24" y="35"/>
                    </a:lnTo>
                    <a:lnTo>
                      <a:pt x="26" y="34"/>
                    </a:lnTo>
                    <a:lnTo>
                      <a:pt x="28" y="32"/>
                    </a:lnTo>
                    <a:lnTo>
                      <a:pt x="30" y="31"/>
                    </a:lnTo>
                    <a:lnTo>
                      <a:pt x="32" y="29"/>
                    </a:lnTo>
                    <a:lnTo>
                      <a:pt x="33" y="28"/>
                    </a:lnTo>
                    <a:lnTo>
                      <a:pt x="35" y="26"/>
                    </a:lnTo>
                    <a:lnTo>
                      <a:pt x="37" y="25"/>
                    </a:lnTo>
                    <a:lnTo>
                      <a:pt x="39" y="23"/>
                    </a:lnTo>
                    <a:lnTo>
                      <a:pt x="39" y="22"/>
                    </a:lnTo>
                    <a:lnTo>
                      <a:pt x="40" y="21"/>
                    </a:lnTo>
                    <a:lnTo>
                      <a:pt x="41" y="20"/>
                    </a:lnTo>
                    <a:lnTo>
                      <a:pt x="41" y="19"/>
                    </a:lnTo>
                    <a:lnTo>
                      <a:pt x="42" y="18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6" y="19"/>
                    </a:lnTo>
                    <a:lnTo>
                      <a:pt x="47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9" y="20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1" y="20"/>
                    </a:lnTo>
                    <a:lnTo>
                      <a:pt x="52" y="19"/>
                    </a:lnTo>
                    <a:lnTo>
                      <a:pt x="53" y="18"/>
                    </a:lnTo>
                    <a:lnTo>
                      <a:pt x="54" y="17"/>
                    </a:lnTo>
                    <a:lnTo>
                      <a:pt x="55" y="15"/>
                    </a:lnTo>
                    <a:lnTo>
                      <a:pt x="55" y="14"/>
                    </a:lnTo>
                    <a:lnTo>
                      <a:pt x="56" y="12"/>
                    </a:lnTo>
                    <a:lnTo>
                      <a:pt x="57" y="9"/>
                    </a:lnTo>
                    <a:lnTo>
                      <a:pt x="58" y="8"/>
                    </a:lnTo>
                    <a:lnTo>
                      <a:pt x="58" y="7"/>
                    </a:lnTo>
                    <a:lnTo>
                      <a:pt x="59" y="5"/>
                    </a:lnTo>
                    <a:lnTo>
                      <a:pt x="60" y="4"/>
                    </a:lnTo>
                    <a:lnTo>
                      <a:pt x="61" y="3"/>
                    </a:lnTo>
                    <a:lnTo>
                      <a:pt x="62" y="2"/>
                    </a:lnTo>
                    <a:lnTo>
                      <a:pt x="63" y="1"/>
                    </a:lnTo>
                    <a:lnTo>
                      <a:pt x="64" y="1"/>
                    </a:lnTo>
                    <a:lnTo>
                      <a:pt x="65" y="0"/>
                    </a:lnTo>
                    <a:lnTo>
                      <a:pt x="66" y="1"/>
                    </a:lnTo>
                    <a:lnTo>
                      <a:pt x="68" y="1"/>
                    </a:lnTo>
                    <a:lnTo>
                      <a:pt x="69" y="1"/>
                    </a:lnTo>
                    <a:lnTo>
                      <a:pt x="70" y="1"/>
                    </a:lnTo>
                    <a:lnTo>
                      <a:pt x="71" y="2"/>
                    </a:lnTo>
                    <a:lnTo>
                      <a:pt x="73" y="3"/>
                    </a:lnTo>
                    <a:lnTo>
                      <a:pt x="74" y="3"/>
                    </a:lnTo>
                    <a:lnTo>
                      <a:pt x="75" y="4"/>
                    </a:lnTo>
                    <a:lnTo>
                      <a:pt x="76" y="5"/>
                    </a:lnTo>
                    <a:lnTo>
                      <a:pt x="76" y="5"/>
                    </a:lnTo>
                    <a:lnTo>
                      <a:pt x="77" y="6"/>
                    </a:lnTo>
                    <a:lnTo>
                      <a:pt x="78" y="7"/>
                    </a:lnTo>
                    <a:lnTo>
                      <a:pt x="80" y="9"/>
                    </a:lnTo>
                    <a:lnTo>
                      <a:pt x="81" y="11"/>
                    </a:lnTo>
                    <a:lnTo>
                      <a:pt x="82" y="13"/>
                    </a:lnTo>
                    <a:lnTo>
                      <a:pt x="84" y="15"/>
                    </a:lnTo>
                    <a:lnTo>
                      <a:pt x="85" y="17"/>
                    </a:lnTo>
                    <a:lnTo>
                      <a:pt x="87" y="19"/>
                    </a:lnTo>
                    <a:lnTo>
                      <a:pt x="87" y="20"/>
                    </a:lnTo>
                    <a:lnTo>
                      <a:pt x="88" y="21"/>
                    </a:lnTo>
                    <a:lnTo>
                      <a:pt x="89" y="22"/>
                    </a:lnTo>
                    <a:lnTo>
                      <a:pt x="90" y="23"/>
                    </a:lnTo>
                    <a:lnTo>
                      <a:pt x="91" y="23"/>
                    </a:lnTo>
                    <a:lnTo>
                      <a:pt x="92" y="24"/>
                    </a:lnTo>
                    <a:lnTo>
                      <a:pt x="93" y="25"/>
                    </a:lnTo>
                    <a:lnTo>
                      <a:pt x="95" y="25"/>
                    </a:lnTo>
                    <a:lnTo>
                      <a:pt x="95" y="25"/>
                    </a:lnTo>
                    <a:lnTo>
                      <a:pt x="96" y="25"/>
                    </a:lnTo>
                    <a:lnTo>
                      <a:pt x="97" y="25"/>
                    </a:lnTo>
                    <a:lnTo>
                      <a:pt x="98" y="25"/>
                    </a:lnTo>
                  </a:path>
                </a:pathLst>
              </a:custGeom>
              <a:solidFill>
                <a:srgbClr val="D9D9D9"/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Freeform 12"/>
              <p:cNvSpPr>
                <a:spLocks/>
              </p:cNvSpPr>
              <p:nvPr/>
            </p:nvSpPr>
            <p:spPr bwMode="auto">
              <a:xfrm>
                <a:off x="750328" y="4137625"/>
                <a:ext cx="1417762" cy="1670428"/>
              </a:xfrm>
              <a:custGeom>
                <a:avLst/>
                <a:gdLst/>
                <a:ahLst/>
                <a:cxnLst>
                  <a:cxn ang="0">
                    <a:pos x="141" y="28"/>
                  </a:cxn>
                  <a:cxn ang="0">
                    <a:pos x="142" y="39"/>
                  </a:cxn>
                  <a:cxn ang="0">
                    <a:pos x="134" y="42"/>
                  </a:cxn>
                  <a:cxn ang="0">
                    <a:pos x="125" y="45"/>
                  </a:cxn>
                  <a:cxn ang="0">
                    <a:pos x="112" y="143"/>
                  </a:cxn>
                  <a:cxn ang="0">
                    <a:pos x="96" y="149"/>
                  </a:cxn>
                  <a:cxn ang="0">
                    <a:pos x="92" y="138"/>
                  </a:cxn>
                  <a:cxn ang="0">
                    <a:pos x="87" y="129"/>
                  </a:cxn>
                  <a:cxn ang="0">
                    <a:pos x="75" y="118"/>
                  </a:cxn>
                  <a:cxn ang="0">
                    <a:pos x="47" y="120"/>
                  </a:cxn>
                  <a:cxn ang="0">
                    <a:pos x="38" y="125"/>
                  </a:cxn>
                  <a:cxn ang="0">
                    <a:pos x="34" y="124"/>
                  </a:cxn>
                  <a:cxn ang="0">
                    <a:pos x="35" y="118"/>
                  </a:cxn>
                  <a:cxn ang="0">
                    <a:pos x="41" y="110"/>
                  </a:cxn>
                  <a:cxn ang="0">
                    <a:pos x="43" y="104"/>
                  </a:cxn>
                  <a:cxn ang="0">
                    <a:pos x="42" y="98"/>
                  </a:cxn>
                  <a:cxn ang="0">
                    <a:pos x="34" y="93"/>
                  </a:cxn>
                  <a:cxn ang="0">
                    <a:pos x="25" y="86"/>
                  </a:cxn>
                  <a:cxn ang="0">
                    <a:pos x="21" y="81"/>
                  </a:cxn>
                  <a:cxn ang="0">
                    <a:pos x="16" y="81"/>
                  </a:cxn>
                  <a:cxn ang="0">
                    <a:pos x="16" y="71"/>
                  </a:cxn>
                  <a:cxn ang="0">
                    <a:pos x="12" y="55"/>
                  </a:cxn>
                  <a:cxn ang="0">
                    <a:pos x="11" y="46"/>
                  </a:cxn>
                  <a:cxn ang="0">
                    <a:pos x="6" y="42"/>
                  </a:cxn>
                  <a:cxn ang="0">
                    <a:pos x="0" y="39"/>
                  </a:cxn>
                  <a:cxn ang="0">
                    <a:pos x="0" y="36"/>
                  </a:cxn>
                  <a:cxn ang="0">
                    <a:pos x="3" y="33"/>
                  </a:cxn>
                  <a:cxn ang="0">
                    <a:pos x="12" y="35"/>
                  </a:cxn>
                  <a:cxn ang="0">
                    <a:pos x="14" y="37"/>
                  </a:cxn>
                  <a:cxn ang="0">
                    <a:pos x="16" y="39"/>
                  </a:cxn>
                  <a:cxn ang="0">
                    <a:pos x="24" y="40"/>
                  </a:cxn>
                  <a:cxn ang="0">
                    <a:pos x="29" y="39"/>
                  </a:cxn>
                  <a:cxn ang="0">
                    <a:pos x="22" y="32"/>
                  </a:cxn>
                  <a:cxn ang="0">
                    <a:pos x="20" y="26"/>
                  </a:cxn>
                  <a:cxn ang="0">
                    <a:pos x="23" y="25"/>
                  </a:cxn>
                  <a:cxn ang="0">
                    <a:pos x="28" y="19"/>
                  </a:cxn>
                  <a:cxn ang="0">
                    <a:pos x="33" y="16"/>
                  </a:cxn>
                  <a:cxn ang="0">
                    <a:pos x="39" y="16"/>
                  </a:cxn>
                  <a:cxn ang="0">
                    <a:pos x="50" y="21"/>
                  </a:cxn>
                  <a:cxn ang="0">
                    <a:pos x="59" y="25"/>
                  </a:cxn>
                  <a:cxn ang="0">
                    <a:pos x="78" y="30"/>
                  </a:cxn>
                  <a:cxn ang="0">
                    <a:pos x="85" y="32"/>
                  </a:cxn>
                  <a:cxn ang="0">
                    <a:pos x="80" y="34"/>
                  </a:cxn>
                  <a:cxn ang="0">
                    <a:pos x="80" y="37"/>
                  </a:cxn>
                  <a:cxn ang="0">
                    <a:pos x="86" y="39"/>
                  </a:cxn>
                  <a:cxn ang="0">
                    <a:pos x="93" y="38"/>
                  </a:cxn>
                  <a:cxn ang="0">
                    <a:pos x="92" y="30"/>
                  </a:cxn>
                  <a:cxn ang="0">
                    <a:pos x="91" y="22"/>
                  </a:cxn>
                  <a:cxn ang="0">
                    <a:pos x="88" y="20"/>
                  </a:cxn>
                  <a:cxn ang="0">
                    <a:pos x="84" y="21"/>
                  </a:cxn>
                  <a:cxn ang="0">
                    <a:pos x="80" y="23"/>
                  </a:cxn>
                  <a:cxn ang="0">
                    <a:pos x="75" y="23"/>
                  </a:cxn>
                  <a:cxn ang="0">
                    <a:pos x="70" y="19"/>
                  </a:cxn>
                  <a:cxn ang="0">
                    <a:pos x="68" y="12"/>
                  </a:cxn>
                  <a:cxn ang="0">
                    <a:pos x="72" y="6"/>
                  </a:cxn>
                  <a:cxn ang="0">
                    <a:pos x="83" y="3"/>
                  </a:cxn>
                  <a:cxn ang="0">
                    <a:pos x="94" y="2"/>
                  </a:cxn>
                  <a:cxn ang="0">
                    <a:pos x="106" y="2"/>
                  </a:cxn>
                  <a:cxn ang="0">
                    <a:pos x="116" y="4"/>
                  </a:cxn>
                  <a:cxn ang="0">
                    <a:pos x="118" y="0"/>
                  </a:cxn>
                  <a:cxn ang="0">
                    <a:pos x="125" y="6"/>
                  </a:cxn>
                  <a:cxn ang="0">
                    <a:pos x="134" y="13"/>
                  </a:cxn>
                </a:cxnLst>
                <a:rect l="0" t="0" r="r" b="b"/>
                <a:pathLst>
                  <a:path w="143" h="156">
                    <a:moveTo>
                      <a:pt x="141" y="15"/>
                    </a:moveTo>
                    <a:lnTo>
                      <a:pt x="141" y="16"/>
                    </a:lnTo>
                    <a:lnTo>
                      <a:pt x="141" y="18"/>
                    </a:lnTo>
                    <a:lnTo>
                      <a:pt x="141" y="20"/>
                    </a:lnTo>
                    <a:lnTo>
                      <a:pt x="141" y="21"/>
                    </a:lnTo>
                    <a:lnTo>
                      <a:pt x="141" y="25"/>
                    </a:lnTo>
                    <a:lnTo>
                      <a:pt x="141" y="28"/>
                    </a:lnTo>
                    <a:lnTo>
                      <a:pt x="141" y="30"/>
                    </a:lnTo>
                    <a:lnTo>
                      <a:pt x="141" y="32"/>
                    </a:lnTo>
                    <a:lnTo>
                      <a:pt x="141" y="33"/>
                    </a:lnTo>
                    <a:lnTo>
                      <a:pt x="141" y="35"/>
                    </a:lnTo>
                    <a:lnTo>
                      <a:pt x="142" y="36"/>
                    </a:lnTo>
                    <a:lnTo>
                      <a:pt x="142" y="38"/>
                    </a:lnTo>
                    <a:lnTo>
                      <a:pt x="142" y="39"/>
                    </a:lnTo>
                    <a:lnTo>
                      <a:pt x="143" y="40"/>
                    </a:lnTo>
                    <a:lnTo>
                      <a:pt x="142" y="40"/>
                    </a:lnTo>
                    <a:lnTo>
                      <a:pt x="141" y="41"/>
                    </a:lnTo>
                    <a:lnTo>
                      <a:pt x="140" y="41"/>
                    </a:lnTo>
                    <a:lnTo>
                      <a:pt x="139" y="41"/>
                    </a:lnTo>
                    <a:lnTo>
                      <a:pt x="136" y="42"/>
                    </a:lnTo>
                    <a:lnTo>
                      <a:pt x="134" y="42"/>
                    </a:lnTo>
                    <a:lnTo>
                      <a:pt x="131" y="43"/>
                    </a:lnTo>
                    <a:lnTo>
                      <a:pt x="130" y="43"/>
                    </a:lnTo>
                    <a:lnTo>
                      <a:pt x="129" y="43"/>
                    </a:lnTo>
                    <a:lnTo>
                      <a:pt x="127" y="43"/>
                    </a:lnTo>
                    <a:lnTo>
                      <a:pt x="126" y="44"/>
                    </a:lnTo>
                    <a:lnTo>
                      <a:pt x="125" y="44"/>
                    </a:lnTo>
                    <a:lnTo>
                      <a:pt x="125" y="45"/>
                    </a:lnTo>
                    <a:lnTo>
                      <a:pt x="123" y="59"/>
                    </a:lnTo>
                    <a:lnTo>
                      <a:pt x="121" y="73"/>
                    </a:lnTo>
                    <a:lnTo>
                      <a:pt x="120" y="87"/>
                    </a:lnTo>
                    <a:lnTo>
                      <a:pt x="118" y="101"/>
                    </a:lnTo>
                    <a:lnTo>
                      <a:pt x="116" y="115"/>
                    </a:lnTo>
                    <a:lnTo>
                      <a:pt x="114" y="129"/>
                    </a:lnTo>
                    <a:lnTo>
                      <a:pt x="112" y="143"/>
                    </a:lnTo>
                    <a:lnTo>
                      <a:pt x="110" y="156"/>
                    </a:lnTo>
                    <a:lnTo>
                      <a:pt x="100" y="156"/>
                    </a:lnTo>
                    <a:lnTo>
                      <a:pt x="99" y="155"/>
                    </a:lnTo>
                    <a:lnTo>
                      <a:pt x="99" y="154"/>
                    </a:lnTo>
                    <a:lnTo>
                      <a:pt x="98" y="152"/>
                    </a:lnTo>
                    <a:lnTo>
                      <a:pt x="97" y="151"/>
                    </a:lnTo>
                    <a:lnTo>
                      <a:pt x="96" y="149"/>
                    </a:lnTo>
                    <a:lnTo>
                      <a:pt x="94" y="146"/>
                    </a:lnTo>
                    <a:lnTo>
                      <a:pt x="94" y="145"/>
                    </a:lnTo>
                    <a:lnTo>
                      <a:pt x="93" y="144"/>
                    </a:lnTo>
                    <a:lnTo>
                      <a:pt x="93" y="143"/>
                    </a:lnTo>
                    <a:lnTo>
                      <a:pt x="92" y="141"/>
                    </a:lnTo>
                    <a:lnTo>
                      <a:pt x="92" y="140"/>
                    </a:lnTo>
                    <a:lnTo>
                      <a:pt x="92" y="138"/>
                    </a:lnTo>
                    <a:lnTo>
                      <a:pt x="91" y="136"/>
                    </a:lnTo>
                    <a:lnTo>
                      <a:pt x="91" y="135"/>
                    </a:lnTo>
                    <a:lnTo>
                      <a:pt x="90" y="133"/>
                    </a:lnTo>
                    <a:lnTo>
                      <a:pt x="90" y="132"/>
                    </a:lnTo>
                    <a:lnTo>
                      <a:pt x="89" y="131"/>
                    </a:lnTo>
                    <a:lnTo>
                      <a:pt x="88" y="130"/>
                    </a:lnTo>
                    <a:lnTo>
                      <a:pt x="87" y="129"/>
                    </a:lnTo>
                    <a:lnTo>
                      <a:pt x="86" y="128"/>
                    </a:lnTo>
                    <a:lnTo>
                      <a:pt x="84" y="126"/>
                    </a:lnTo>
                    <a:lnTo>
                      <a:pt x="81" y="124"/>
                    </a:lnTo>
                    <a:lnTo>
                      <a:pt x="79" y="122"/>
                    </a:lnTo>
                    <a:lnTo>
                      <a:pt x="77" y="120"/>
                    </a:lnTo>
                    <a:lnTo>
                      <a:pt x="76" y="119"/>
                    </a:lnTo>
                    <a:lnTo>
                      <a:pt x="75" y="118"/>
                    </a:lnTo>
                    <a:lnTo>
                      <a:pt x="69" y="118"/>
                    </a:lnTo>
                    <a:lnTo>
                      <a:pt x="63" y="118"/>
                    </a:lnTo>
                    <a:lnTo>
                      <a:pt x="57" y="118"/>
                    </a:lnTo>
                    <a:lnTo>
                      <a:pt x="51" y="118"/>
                    </a:lnTo>
                    <a:lnTo>
                      <a:pt x="50" y="119"/>
                    </a:lnTo>
                    <a:lnTo>
                      <a:pt x="49" y="119"/>
                    </a:lnTo>
                    <a:lnTo>
                      <a:pt x="47" y="120"/>
                    </a:lnTo>
                    <a:lnTo>
                      <a:pt x="45" y="121"/>
                    </a:lnTo>
                    <a:lnTo>
                      <a:pt x="43" y="122"/>
                    </a:lnTo>
                    <a:lnTo>
                      <a:pt x="42" y="123"/>
                    </a:lnTo>
                    <a:lnTo>
                      <a:pt x="41" y="123"/>
                    </a:lnTo>
                    <a:lnTo>
                      <a:pt x="40" y="124"/>
                    </a:lnTo>
                    <a:lnTo>
                      <a:pt x="39" y="124"/>
                    </a:lnTo>
                    <a:lnTo>
                      <a:pt x="38" y="125"/>
                    </a:lnTo>
                    <a:lnTo>
                      <a:pt x="37" y="126"/>
                    </a:lnTo>
                    <a:lnTo>
                      <a:pt x="37" y="127"/>
                    </a:lnTo>
                    <a:lnTo>
                      <a:pt x="36" y="128"/>
                    </a:lnTo>
                    <a:lnTo>
                      <a:pt x="36" y="127"/>
                    </a:lnTo>
                    <a:lnTo>
                      <a:pt x="35" y="126"/>
                    </a:lnTo>
                    <a:lnTo>
                      <a:pt x="35" y="125"/>
                    </a:lnTo>
                    <a:lnTo>
                      <a:pt x="34" y="124"/>
                    </a:lnTo>
                    <a:lnTo>
                      <a:pt x="34" y="123"/>
                    </a:lnTo>
                    <a:lnTo>
                      <a:pt x="34" y="122"/>
                    </a:lnTo>
                    <a:lnTo>
                      <a:pt x="34" y="121"/>
                    </a:lnTo>
                    <a:lnTo>
                      <a:pt x="34" y="120"/>
                    </a:lnTo>
                    <a:lnTo>
                      <a:pt x="35" y="120"/>
                    </a:lnTo>
                    <a:lnTo>
                      <a:pt x="35" y="119"/>
                    </a:lnTo>
                    <a:lnTo>
                      <a:pt x="35" y="118"/>
                    </a:lnTo>
                    <a:lnTo>
                      <a:pt x="36" y="117"/>
                    </a:lnTo>
                    <a:lnTo>
                      <a:pt x="36" y="117"/>
                    </a:lnTo>
                    <a:lnTo>
                      <a:pt x="36" y="116"/>
                    </a:lnTo>
                    <a:lnTo>
                      <a:pt x="37" y="114"/>
                    </a:lnTo>
                    <a:lnTo>
                      <a:pt x="38" y="113"/>
                    </a:lnTo>
                    <a:lnTo>
                      <a:pt x="40" y="112"/>
                    </a:lnTo>
                    <a:lnTo>
                      <a:pt x="41" y="110"/>
                    </a:lnTo>
                    <a:lnTo>
                      <a:pt x="41" y="110"/>
                    </a:lnTo>
                    <a:lnTo>
                      <a:pt x="42" y="109"/>
                    </a:lnTo>
                    <a:lnTo>
                      <a:pt x="42" y="108"/>
                    </a:lnTo>
                    <a:lnTo>
                      <a:pt x="42" y="107"/>
                    </a:lnTo>
                    <a:lnTo>
                      <a:pt x="43" y="106"/>
                    </a:lnTo>
                    <a:lnTo>
                      <a:pt x="43" y="105"/>
                    </a:lnTo>
                    <a:lnTo>
                      <a:pt x="43" y="104"/>
                    </a:lnTo>
                    <a:lnTo>
                      <a:pt x="43" y="104"/>
                    </a:lnTo>
                    <a:lnTo>
                      <a:pt x="43" y="102"/>
                    </a:lnTo>
                    <a:lnTo>
                      <a:pt x="43" y="101"/>
                    </a:lnTo>
                    <a:lnTo>
                      <a:pt x="43" y="101"/>
                    </a:lnTo>
                    <a:lnTo>
                      <a:pt x="43" y="100"/>
                    </a:lnTo>
                    <a:lnTo>
                      <a:pt x="42" y="99"/>
                    </a:lnTo>
                    <a:lnTo>
                      <a:pt x="42" y="98"/>
                    </a:lnTo>
                    <a:lnTo>
                      <a:pt x="41" y="97"/>
                    </a:lnTo>
                    <a:lnTo>
                      <a:pt x="40" y="96"/>
                    </a:lnTo>
                    <a:lnTo>
                      <a:pt x="39" y="95"/>
                    </a:lnTo>
                    <a:lnTo>
                      <a:pt x="38" y="95"/>
                    </a:lnTo>
                    <a:lnTo>
                      <a:pt x="37" y="94"/>
                    </a:lnTo>
                    <a:lnTo>
                      <a:pt x="36" y="94"/>
                    </a:lnTo>
                    <a:lnTo>
                      <a:pt x="34" y="93"/>
                    </a:lnTo>
                    <a:lnTo>
                      <a:pt x="33" y="93"/>
                    </a:lnTo>
                    <a:lnTo>
                      <a:pt x="32" y="93"/>
                    </a:lnTo>
                    <a:lnTo>
                      <a:pt x="29" y="92"/>
                    </a:lnTo>
                    <a:lnTo>
                      <a:pt x="26" y="91"/>
                    </a:lnTo>
                    <a:lnTo>
                      <a:pt x="26" y="89"/>
                    </a:lnTo>
                    <a:lnTo>
                      <a:pt x="25" y="87"/>
                    </a:lnTo>
                    <a:lnTo>
                      <a:pt x="25" y="86"/>
                    </a:lnTo>
                    <a:lnTo>
                      <a:pt x="25" y="85"/>
                    </a:lnTo>
                    <a:lnTo>
                      <a:pt x="25" y="84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3" y="82"/>
                    </a:lnTo>
                    <a:lnTo>
                      <a:pt x="22" y="82"/>
                    </a:lnTo>
                    <a:lnTo>
                      <a:pt x="21" y="81"/>
                    </a:lnTo>
                    <a:lnTo>
                      <a:pt x="20" y="81"/>
                    </a:lnTo>
                    <a:lnTo>
                      <a:pt x="20" y="81"/>
                    </a:lnTo>
                    <a:lnTo>
                      <a:pt x="19" y="81"/>
                    </a:lnTo>
                    <a:lnTo>
                      <a:pt x="19" y="81"/>
                    </a:lnTo>
                    <a:lnTo>
                      <a:pt x="18" y="81"/>
                    </a:lnTo>
                    <a:lnTo>
                      <a:pt x="17" y="81"/>
                    </a:lnTo>
                    <a:lnTo>
                      <a:pt x="16" y="81"/>
                    </a:lnTo>
                    <a:lnTo>
                      <a:pt x="16" y="80"/>
                    </a:lnTo>
                    <a:lnTo>
                      <a:pt x="17" y="79"/>
                    </a:lnTo>
                    <a:lnTo>
                      <a:pt x="17" y="77"/>
                    </a:lnTo>
                    <a:lnTo>
                      <a:pt x="17" y="76"/>
                    </a:lnTo>
                    <a:lnTo>
                      <a:pt x="17" y="75"/>
                    </a:lnTo>
                    <a:lnTo>
                      <a:pt x="17" y="74"/>
                    </a:lnTo>
                    <a:lnTo>
                      <a:pt x="16" y="71"/>
                    </a:lnTo>
                    <a:lnTo>
                      <a:pt x="16" y="69"/>
                    </a:lnTo>
                    <a:lnTo>
                      <a:pt x="15" y="67"/>
                    </a:lnTo>
                    <a:lnTo>
                      <a:pt x="15" y="65"/>
                    </a:lnTo>
                    <a:lnTo>
                      <a:pt x="14" y="63"/>
                    </a:lnTo>
                    <a:lnTo>
                      <a:pt x="13" y="60"/>
                    </a:lnTo>
                    <a:lnTo>
                      <a:pt x="13" y="58"/>
                    </a:lnTo>
                    <a:lnTo>
                      <a:pt x="12" y="55"/>
                    </a:lnTo>
                    <a:lnTo>
                      <a:pt x="12" y="53"/>
                    </a:lnTo>
                    <a:lnTo>
                      <a:pt x="11" y="51"/>
                    </a:lnTo>
                    <a:lnTo>
                      <a:pt x="11" y="49"/>
                    </a:lnTo>
                    <a:lnTo>
                      <a:pt x="11" y="48"/>
                    </a:lnTo>
                    <a:lnTo>
                      <a:pt x="11" y="47"/>
                    </a:lnTo>
                    <a:lnTo>
                      <a:pt x="11" y="46"/>
                    </a:lnTo>
                    <a:lnTo>
                      <a:pt x="11" y="46"/>
                    </a:lnTo>
                    <a:lnTo>
                      <a:pt x="11" y="45"/>
                    </a:lnTo>
                    <a:lnTo>
                      <a:pt x="10" y="45"/>
                    </a:lnTo>
                    <a:lnTo>
                      <a:pt x="10" y="44"/>
                    </a:lnTo>
                    <a:lnTo>
                      <a:pt x="9" y="43"/>
                    </a:lnTo>
                    <a:lnTo>
                      <a:pt x="8" y="43"/>
                    </a:lnTo>
                    <a:lnTo>
                      <a:pt x="7" y="42"/>
                    </a:lnTo>
                    <a:lnTo>
                      <a:pt x="6" y="42"/>
                    </a:lnTo>
                    <a:lnTo>
                      <a:pt x="5" y="42"/>
                    </a:lnTo>
                    <a:lnTo>
                      <a:pt x="4" y="41"/>
                    </a:lnTo>
                    <a:lnTo>
                      <a:pt x="3" y="41"/>
                    </a:lnTo>
                    <a:lnTo>
                      <a:pt x="2" y="41"/>
                    </a:lnTo>
                    <a:lnTo>
                      <a:pt x="1" y="40"/>
                    </a:lnTo>
                    <a:lnTo>
                      <a:pt x="1" y="39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5"/>
                    </a:lnTo>
                    <a:lnTo>
                      <a:pt x="1" y="35"/>
                    </a:lnTo>
                    <a:lnTo>
                      <a:pt x="1" y="34"/>
                    </a:lnTo>
                    <a:lnTo>
                      <a:pt x="1" y="34"/>
                    </a:lnTo>
                    <a:lnTo>
                      <a:pt x="2" y="34"/>
                    </a:lnTo>
                    <a:lnTo>
                      <a:pt x="3" y="34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5" y="33"/>
                    </a:lnTo>
                    <a:lnTo>
                      <a:pt x="6" y="34"/>
                    </a:lnTo>
                    <a:lnTo>
                      <a:pt x="7" y="34"/>
                    </a:lnTo>
                    <a:lnTo>
                      <a:pt x="9" y="34"/>
                    </a:lnTo>
                    <a:lnTo>
                      <a:pt x="11" y="35"/>
                    </a:lnTo>
                    <a:lnTo>
                      <a:pt x="12" y="35"/>
                    </a:lnTo>
                    <a:lnTo>
                      <a:pt x="13" y="35"/>
                    </a:lnTo>
                    <a:lnTo>
                      <a:pt x="13" y="35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7"/>
                    </a:lnTo>
                    <a:lnTo>
                      <a:pt x="15" y="37"/>
                    </a:lnTo>
                    <a:lnTo>
                      <a:pt x="16" y="37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9"/>
                    </a:lnTo>
                    <a:lnTo>
                      <a:pt x="16" y="39"/>
                    </a:lnTo>
                    <a:lnTo>
                      <a:pt x="16" y="40"/>
                    </a:lnTo>
                    <a:lnTo>
                      <a:pt x="17" y="40"/>
                    </a:lnTo>
                    <a:lnTo>
                      <a:pt x="18" y="40"/>
                    </a:lnTo>
                    <a:lnTo>
                      <a:pt x="19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4" y="40"/>
                    </a:lnTo>
                    <a:lnTo>
                      <a:pt x="25" y="40"/>
                    </a:lnTo>
                    <a:lnTo>
                      <a:pt x="27" y="41"/>
                    </a:lnTo>
                    <a:lnTo>
                      <a:pt x="28" y="41"/>
                    </a:lnTo>
                    <a:lnTo>
                      <a:pt x="30" y="41"/>
                    </a:lnTo>
                    <a:lnTo>
                      <a:pt x="30" y="41"/>
                    </a:lnTo>
                    <a:lnTo>
                      <a:pt x="29" y="40"/>
                    </a:lnTo>
                    <a:lnTo>
                      <a:pt x="29" y="39"/>
                    </a:lnTo>
                    <a:lnTo>
                      <a:pt x="28" y="38"/>
                    </a:lnTo>
                    <a:lnTo>
                      <a:pt x="27" y="37"/>
                    </a:lnTo>
                    <a:lnTo>
                      <a:pt x="27" y="36"/>
                    </a:lnTo>
                    <a:lnTo>
                      <a:pt x="26" y="35"/>
                    </a:lnTo>
                    <a:lnTo>
                      <a:pt x="24" y="34"/>
                    </a:lnTo>
                    <a:lnTo>
                      <a:pt x="23" y="33"/>
                    </a:lnTo>
                    <a:lnTo>
                      <a:pt x="22" y="32"/>
                    </a:lnTo>
                    <a:lnTo>
                      <a:pt x="22" y="31"/>
                    </a:lnTo>
                    <a:lnTo>
                      <a:pt x="21" y="30"/>
                    </a:lnTo>
                    <a:lnTo>
                      <a:pt x="20" y="29"/>
                    </a:lnTo>
                    <a:lnTo>
                      <a:pt x="20" y="28"/>
                    </a:lnTo>
                    <a:lnTo>
                      <a:pt x="20" y="27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5"/>
                    </a:lnTo>
                    <a:lnTo>
                      <a:pt x="20" y="25"/>
                    </a:lnTo>
                    <a:lnTo>
                      <a:pt x="21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5"/>
                    </a:lnTo>
                    <a:lnTo>
                      <a:pt x="23" y="25"/>
                    </a:lnTo>
                    <a:lnTo>
                      <a:pt x="24" y="25"/>
                    </a:lnTo>
                    <a:lnTo>
                      <a:pt x="25" y="24"/>
                    </a:lnTo>
                    <a:lnTo>
                      <a:pt x="26" y="23"/>
                    </a:lnTo>
                    <a:lnTo>
                      <a:pt x="26" y="23"/>
                    </a:lnTo>
                    <a:lnTo>
                      <a:pt x="27" y="22"/>
                    </a:lnTo>
                    <a:lnTo>
                      <a:pt x="28" y="20"/>
                    </a:lnTo>
                    <a:lnTo>
                      <a:pt x="28" y="19"/>
                    </a:lnTo>
                    <a:lnTo>
                      <a:pt x="29" y="19"/>
                    </a:lnTo>
                    <a:lnTo>
                      <a:pt x="29" y="18"/>
                    </a:lnTo>
                    <a:lnTo>
                      <a:pt x="30" y="17"/>
                    </a:lnTo>
                    <a:lnTo>
                      <a:pt x="30" y="17"/>
                    </a:lnTo>
                    <a:lnTo>
                      <a:pt x="31" y="17"/>
                    </a:lnTo>
                    <a:lnTo>
                      <a:pt x="32" y="16"/>
                    </a:lnTo>
                    <a:lnTo>
                      <a:pt x="33" y="16"/>
                    </a:lnTo>
                    <a:lnTo>
                      <a:pt x="34" y="16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6" y="15"/>
                    </a:lnTo>
                    <a:lnTo>
                      <a:pt x="37" y="15"/>
                    </a:lnTo>
                    <a:lnTo>
                      <a:pt x="38" y="16"/>
                    </a:lnTo>
                    <a:lnTo>
                      <a:pt x="39" y="16"/>
                    </a:lnTo>
                    <a:lnTo>
                      <a:pt x="41" y="16"/>
                    </a:lnTo>
                    <a:lnTo>
                      <a:pt x="42" y="17"/>
                    </a:lnTo>
                    <a:lnTo>
                      <a:pt x="43" y="17"/>
                    </a:lnTo>
                    <a:lnTo>
                      <a:pt x="45" y="18"/>
                    </a:lnTo>
                    <a:lnTo>
                      <a:pt x="46" y="19"/>
                    </a:lnTo>
                    <a:lnTo>
                      <a:pt x="49" y="20"/>
                    </a:lnTo>
                    <a:lnTo>
                      <a:pt x="50" y="21"/>
                    </a:lnTo>
                    <a:lnTo>
                      <a:pt x="52" y="22"/>
                    </a:lnTo>
                    <a:lnTo>
                      <a:pt x="53" y="23"/>
                    </a:lnTo>
                    <a:lnTo>
                      <a:pt x="55" y="23"/>
                    </a:lnTo>
                    <a:lnTo>
                      <a:pt x="56" y="24"/>
                    </a:lnTo>
                    <a:lnTo>
                      <a:pt x="57" y="24"/>
                    </a:lnTo>
                    <a:lnTo>
                      <a:pt x="58" y="24"/>
                    </a:lnTo>
                    <a:lnTo>
                      <a:pt x="59" y="25"/>
                    </a:lnTo>
                    <a:lnTo>
                      <a:pt x="62" y="26"/>
                    </a:lnTo>
                    <a:lnTo>
                      <a:pt x="65" y="27"/>
                    </a:lnTo>
                    <a:lnTo>
                      <a:pt x="67" y="27"/>
                    </a:lnTo>
                    <a:lnTo>
                      <a:pt x="70" y="28"/>
                    </a:lnTo>
                    <a:lnTo>
                      <a:pt x="73" y="29"/>
                    </a:lnTo>
                    <a:lnTo>
                      <a:pt x="75" y="29"/>
                    </a:lnTo>
                    <a:lnTo>
                      <a:pt x="78" y="30"/>
                    </a:lnTo>
                    <a:lnTo>
                      <a:pt x="81" y="30"/>
                    </a:lnTo>
                    <a:lnTo>
                      <a:pt x="83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1"/>
                    </a:lnTo>
                    <a:lnTo>
                      <a:pt x="85" y="31"/>
                    </a:lnTo>
                    <a:lnTo>
                      <a:pt x="85" y="32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2" y="32"/>
                    </a:lnTo>
                    <a:lnTo>
                      <a:pt x="82" y="32"/>
                    </a:lnTo>
                    <a:lnTo>
                      <a:pt x="81" y="33"/>
                    </a:lnTo>
                    <a:lnTo>
                      <a:pt x="80" y="33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79" y="35"/>
                    </a:lnTo>
                    <a:lnTo>
                      <a:pt x="79" y="35"/>
                    </a:lnTo>
                    <a:lnTo>
                      <a:pt x="79" y="36"/>
                    </a:lnTo>
                    <a:lnTo>
                      <a:pt x="79" y="36"/>
                    </a:lnTo>
                    <a:lnTo>
                      <a:pt x="80" y="37"/>
                    </a:lnTo>
                    <a:lnTo>
                      <a:pt x="80" y="37"/>
                    </a:lnTo>
                    <a:lnTo>
                      <a:pt x="81" y="38"/>
                    </a:lnTo>
                    <a:lnTo>
                      <a:pt x="82" y="38"/>
                    </a:lnTo>
                    <a:lnTo>
                      <a:pt x="82" y="39"/>
                    </a:lnTo>
                    <a:lnTo>
                      <a:pt x="83" y="39"/>
                    </a:lnTo>
                    <a:lnTo>
                      <a:pt x="84" y="39"/>
                    </a:lnTo>
                    <a:lnTo>
                      <a:pt x="85" y="39"/>
                    </a:lnTo>
                    <a:lnTo>
                      <a:pt x="86" y="39"/>
                    </a:lnTo>
                    <a:lnTo>
                      <a:pt x="87" y="39"/>
                    </a:lnTo>
                    <a:lnTo>
                      <a:pt x="88" y="39"/>
                    </a:lnTo>
                    <a:lnTo>
                      <a:pt x="90" y="39"/>
                    </a:lnTo>
                    <a:lnTo>
                      <a:pt x="91" y="39"/>
                    </a:lnTo>
                    <a:lnTo>
                      <a:pt x="91" y="38"/>
                    </a:lnTo>
                    <a:lnTo>
                      <a:pt x="92" y="38"/>
                    </a:lnTo>
                    <a:lnTo>
                      <a:pt x="93" y="38"/>
                    </a:lnTo>
                    <a:lnTo>
                      <a:pt x="93" y="37"/>
                    </a:lnTo>
                    <a:lnTo>
                      <a:pt x="92" y="37"/>
                    </a:lnTo>
                    <a:lnTo>
                      <a:pt x="92" y="35"/>
                    </a:lnTo>
                    <a:lnTo>
                      <a:pt x="92" y="34"/>
                    </a:lnTo>
                    <a:lnTo>
                      <a:pt x="92" y="33"/>
                    </a:lnTo>
                    <a:lnTo>
                      <a:pt x="92" y="31"/>
                    </a:lnTo>
                    <a:lnTo>
                      <a:pt x="92" y="30"/>
                    </a:lnTo>
                    <a:lnTo>
                      <a:pt x="92" y="29"/>
                    </a:lnTo>
                    <a:lnTo>
                      <a:pt x="92" y="28"/>
                    </a:lnTo>
                    <a:lnTo>
                      <a:pt x="92" y="26"/>
                    </a:lnTo>
                    <a:lnTo>
                      <a:pt x="92" y="25"/>
                    </a:lnTo>
                    <a:lnTo>
                      <a:pt x="92" y="24"/>
                    </a:lnTo>
                    <a:lnTo>
                      <a:pt x="92" y="23"/>
                    </a:lnTo>
                    <a:lnTo>
                      <a:pt x="91" y="22"/>
                    </a:lnTo>
                    <a:lnTo>
                      <a:pt x="91" y="21"/>
                    </a:lnTo>
                    <a:lnTo>
                      <a:pt x="91" y="21"/>
                    </a:lnTo>
                    <a:lnTo>
                      <a:pt x="90" y="21"/>
                    </a:lnTo>
                    <a:lnTo>
                      <a:pt x="90" y="20"/>
                    </a:lnTo>
                    <a:lnTo>
                      <a:pt x="90" y="20"/>
                    </a:lnTo>
                    <a:lnTo>
                      <a:pt x="89" y="20"/>
                    </a:lnTo>
                    <a:lnTo>
                      <a:pt x="88" y="20"/>
                    </a:lnTo>
                    <a:lnTo>
                      <a:pt x="88" y="20"/>
                    </a:lnTo>
                    <a:lnTo>
                      <a:pt x="87" y="20"/>
                    </a:lnTo>
                    <a:lnTo>
                      <a:pt x="87" y="20"/>
                    </a:lnTo>
                    <a:lnTo>
                      <a:pt x="86" y="20"/>
                    </a:lnTo>
                    <a:lnTo>
                      <a:pt x="85" y="20"/>
                    </a:lnTo>
                    <a:lnTo>
                      <a:pt x="85" y="21"/>
                    </a:lnTo>
                    <a:lnTo>
                      <a:pt x="84" y="21"/>
                    </a:lnTo>
                    <a:lnTo>
                      <a:pt x="84" y="22"/>
                    </a:lnTo>
                    <a:lnTo>
                      <a:pt x="83" y="22"/>
                    </a:lnTo>
                    <a:lnTo>
                      <a:pt x="83" y="22"/>
                    </a:lnTo>
                    <a:lnTo>
                      <a:pt x="82" y="23"/>
                    </a:lnTo>
                    <a:lnTo>
                      <a:pt x="82" y="23"/>
                    </a:lnTo>
                    <a:lnTo>
                      <a:pt x="81" y="23"/>
                    </a:lnTo>
                    <a:lnTo>
                      <a:pt x="80" y="23"/>
                    </a:lnTo>
                    <a:lnTo>
                      <a:pt x="80" y="23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78" y="23"/>
                    </a:lnTo>
                    <a:lnTo>
                      <a:pt x="77" y="23"/>
                    </a:lnTo>
                    <a:lnTo>
                      <a:pt x="76" y="23"/>
                    </a:lnTo>
                    <a:lnTo>
                      <a:pt x="75" y="23"/>
                    </a:lnTo>
                    <a:lnTo>
                      <a:pt x="75" y="22"/>
                    </a:lnTo>
                    <a:lnTo>
                      <a:pt x="74" y="22"/>
                    </a:lnTo>
                    <a:lnTo>
                      <a:pt x="73" y="22"/>
                    </a:lnTo>
                    <a:lnTo>
                      <a:pt x="73" y="21"/>
                    </a:lnTo>
                    <a:lnTo>
                      <a:pt x="72" y="21"/>
                    </a:lnTo>
                    <a:lnTo>
                      <a:pt x="71" y="20"/>
                    </a:lnTo>
                    <a:lnTo>
                      <a:pt x="70" y="19"/>
                    </a:lnTo>
                    <a:lnTo>
                      <a:pt x="69" y="17"/>
                    </a:lnTo>
                    <a:lnTo>
                      <a:pt x="69" y="17"/>
                    </a:lnTo>
                    <a:lnTo>
                      <a:pt x="68" y="17"/>
                    </a:lnTo>
                    <a:lnTo>
                      <a:pt x="68" y="15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8" y="12"/>
                    </a:lnTo>
                    <a:lnTo>
                      <a:pt x="69" y="11"/>
                    </a:lnTo>
                    <a:lnTo>
                      <a:pt x="69" y="11"/>
                    </a:lnTo>
                    <a:lnTo>
                      <a:pt x="69" y="10"/>
                    </a:lnTo>
                    <a:lnTo>
                      <a:pt x="70" y="9"/>
                    </a:lnTo>
                    <a:lnTo>
                      <a:pt x="71" y="8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2" y="5"/>
                    </a:lnTo>
                    <a:lnTo>
                      <a:pt x="73" y="4"/>
                    </a:lnTo>
                    <a:lnTo>
                      <a:pt x="73" y="3"/>
                    </a:lnTo>
                    <a:lnTo>
                      <a:pt x="78" y="3"/>
                    </a:lnTo>
                    <a:lnTo>
                      <a:pt x="80" y="3"/>
                    </a:lnTo>
                    <a:lnTo>
                      <a:pt x="81" y="3"/>
                    </a:lnTo>
                    <a:lnTo>
                      <a:pt x="83" y="3"/>
                    </a:lnTo>
                    <a:lnTo>
                      <a:pt x="85" y="3"/>
                    </a:lnTo>
                    <a:lnTo>
                      <a:pt x="86" y="3"/>
                    </a:lnTo>
                    <a:lnTo>
                      <a:pt x="88" y="3"/>
                    </a:lnTo>
                    <a:lnTo>
                      <a:pt x="89" y="3"/>
                    </a:lnTo>
                    <a:lnTo>
                      <a:pt x="91" y="3"/>
                    </a:lnTo>
                    <a:lnTo>
                      <a:pt x="92" y="3"/>
                    </a:lnTo>
                    <a:lnTo>
                      <a:pt x="94" y="2"/>
                    </a:lnTo>
                    <a:lnTo>
                      <a:pt x="95" y="2"/>
                    </a:lnTo>
                    <a:lnTo>
                      <a:pt x="96" y="2"/>
                    </a:lnTo>
                    <a:lnTo>
                      <a:pt x="99" y="1"/>
                    </a:lnTo>
                    <a:lnTo>
                      <a:pt x="101" y="0"/>
                    </a:lnTo>
                    <a:lnTo>
                      <a:pt x="103" y="1"/>
                    </a:lnTo>
                    <a:lnTo>
                      <a:pt x="104" y="1"/>
                    </a:lnTo>
                    <a:lnTo>
                      <a:pt x="106" y="2"/>
                    </a:lnTo>
                    <a:lnTo>
                      <a:pt x="108" y="3"/>
                    </a:lnTo>
                    <a:lnTo>
                      <a:pt x="111" y="4"/>
                    </a:lnTo>
                    <a:lnTo>
                      <a:pt x="115" y="5"/>
                    </a:lnTo>
                    <a:lnTo>
                      <a:pt x="115" y="5"/>
                    </a:lnTo>
                    <a:lnTo>
                      <a:pt x="116" y="5"/>
                    </a:lnTo>
                    <a:lnTo>
                      <a:pt x="116" y="5"/>
                    </a:lnTo>
                    <a:lnTo>
                      <a:pt x="116" y="4"/>
                    </a:lnTo>
                    <a:lnTo>
                      <a:pt x="117" y="4"/>
                    </a:lnTo>
                    <a:lnTo>
                      <a:pt x="117" y="3"/>
                    </a:lnTo>
                    <a:lnTo>
                      <a:pt x="117" y="3"/>
                    </a:lnTo>
                    <a:lnTo>
                      <a:pt x="118" y="2"/>
                    </a:lnTo>
                    <a:lnTo>
                      <a:pt x="118" y="1"/>
                    </a:lnTo>
                    <a:lnTo>
                      <a:pt x="118" y="1"/>
                    </a:lnTo>
                    <a:lnTo>
                      <a:pt x="118" y="0"/>
                    </a:lnTo>
                    <a:lnTo>
                      <a:pt x="119" y="0"/>
                    </a:lnTo>
                    <a:lnTo>
                      <a:pt x="119" y="0"/>
                    </a:lnTo>
                    <a:lnTo>
                      <a:pt x="120" y="0"/>
                    </a:lnTo>
                    <a:lnTo>
                      <a:pt x="121" y="1"/>
                    </a:lnTo>
                    <a:lnTo>
                      <a:pt x="122" y="2"/>
                    </a:lnTo>
                    <a:lnTo>
                      <a:pt x="124" y="5"/>
                    </a:lnTo>
                    <a:lnTo>
                      <a:pt x="125" y="6"/>
                    </a:lnTo>
                    <a:lnTo>
                      <a:pt x="126" y="7"/>
                    </a:lnTo>
                    <a:lnTo>
                      <a:pt x="127" y="8"/>
                    </a:lnTo>
                    <a:lnTo>
                      <a:pt x="128" y="10"/>
                    </a:lnTo>
                    <a:lnTo>
                      <a:pt x="129" y="11"/>
                    </a:lnTo>
                    <a:lnTo>
                      <a:pt x="131" y="12"/>
                    </a:lnTo>
                    <a:lnTo>
                      <a:pt x="132" y="12"/>
                    </a:lnTo>
                    <a:lnTo>
                      <a:pt x="134" y="13"/>
                    </a:lnTo>
                    <a:lnTo>
                      <a:pt x="135" y="14"/>
                    </a:lnTo>
                    <a:lnTo>
                      <a:pt x="137" y="14"/>
                    </a:lnTo>
                    <a:lnTo>
                      <a:pt x="138" y="15"/>
                    </a:lnTo>
                    <a:lnTo>
                      <a:pt x="139" y="15"/>
                    </a:lnTo>
                    <a:lnTo>
                      <a:pt x="140" y="15"/>
                    </a:lnTo>
                    <a:lnTo>
                      <a:pt x="141" y="15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Freeform 13"/>
              <p:cNvSpPr>
                <a:spLocks/>
              </p:cNvSpPr>
              <p:nvPr/>
            </p:nvSpPr>
            <p:spPr bwMode="auto">
              <a:xfrm>
                <a:off x="4203976" y="4468766"/>
                <a:ext cx="1091529" cy="1768546"/>
              </a:xfrm>
              <a:custGeom>
                <a:avLst/>
                <a:gdLst/>
                <a:ahLst/>
                <a:cxnLst>
                  <a:cxn ang="0">
                    <a:pos x="77" y="17"/>
                  </a:cxn>
                  <a:cxn ang="0">
                    <a:pos x="84" y="37"/>
                  </a:cxn>
                  <a:cxn ang="0">
                    <a:pos x="86" y="57"/>
                  </a:cxn>
                  <a:cxn ang="0">
                    <a:pos x="81" y="75"/>
                  </a:cxn>
                  <a:cxn ang="0">
                    <a:pos x="91" y="84"/>
                  </a:cxn>
                  <a:cxn ang="0">
                    <a:pos x="97" y="94"/>
                  </a:cxn>
                  <a:cxn ang="0">
                    <a:pos x="102" y="104"/>
                  </a:cxn>
                  <a:cxn ang="0">
                    <a:pos x="109" y="109"/>
                  </a:cxn>
                  <a:cxn ang="0">
                    <a:pos x="109" y="115"/>
                  </a:cxn>
                  <a:cxn ang="0">
                    <a:pos x="108" y="117"/>
                  </a:cxn>
                  <a:cxn ang="0">
                    <a:pos x="106" y="119"/>
                  </a:cxn>
                  <a:cxn ang="0">
                    <a:pos x="102" y="120"/>
                  </a:cxn>
                  <a:cxn ang="0">
                    <a:pos x="101" y="119"/>
                  </a:cxn>
                  <a:cxn ang="0">
                    <a:pos x="98" y="121"/>
                  </a:cxn>
                  <a:cxn ang="0">
                    <a:pos x="94" y="125"/>
                  </a:cxn>
                  <a:cxn ang="0">
                    <a:pos x="93" y="128"/>
                  </a:cxn>
                  <a:cxn ang="0">
                    <a:pos x="88" y="130"/>
                  </a:cxn>
                  <a:cxn ang="0">
                    <a:pos x="85" y="132"/>
                  </a:cxn>
                  <a:cxn ang="0">
                    <a:pos x="83" y="134"/>
                  </a:cxn>
                  <a:cxn ang="0">
                    <a:pos x="78" y="136"/>
                  </a:cxn>
                  <a:cxn ang="0">
                    <a:pos x="72" y="140"/>
                  </a:cxn>
                  <a:cxn ang="0">
                    <a:pos x="70" y="144"/>
                  </a:cxn>
                  <a:cxn ang="0">
                    <a:pos x="66" y="148"/>
                  </a:cxn>
                  <a:cxn ang="0">
                    <a:pos x="63" y="151"/>
                  </a:cxn>
                  <a:cxn ang="0">
                    <a:pos x="59" y="158"/>
                  </a:cxn>
                  <a:cxn ang="0">
                    <a:pos x="54" y="165"/>
                  </a:cxn>
                  <a:cxn ang="0">
                    <a:pos x="51" y="162"/>
                  </a:cxn>
                  <a:cxn ang="0">
                    <a:pos x="49" y="160"/>
                  </a:cxn>
                  <a:cxn ang="0">
                    <a:pos x="50" y="157"/>
                  </a:cxn>
                  <a:cxn ang="0">
                    <a:pos x="47" y="152"/>
                  </a:cxn>
                  <a:cxn ang="0">
                    <a:pos x="43" y="148"/>
                  </a:cxn>
                  <a:cxn ang="0">
                    <a:pos x="40" y="147"/>
                  </a:cxn>
                  <a:cxn ang="0">
                    <a:pos x="37" y="148"/>
                  </a:cxn>
                  <a:cxn ang="0">
                    <a:pos x="24" y="149"/>
                  </a:cxn>
                  <a:cxn ang="0">
                    <a:pos x="17" y="146"/>
                  </a:cxn>
                  <a:cxn ang="0">
                    <a:pos x="15" y="139"/>
                  </a:cxn>
                  <a:cxn ang="0">
                    <a:pos x="13" y="135"/>
                  </a:cxn>
                  <a:cxn ang="0">
                    <a:pos x="11" y="129"/>
                  </a:cxn>
                  <a:cxn ang="0">
                    <a:pos x="9" y="123"/>
                  </a:cxn>
                  <a:cxn ang="0">
                    <a:pos x="3" y="122"/>
                  </a:cxn>
                  <a:cxn ang="0">
                    <a:pos x="1" y="118"/>
                  </a:cxn>
                  <a:cxn ang="0">
                    <a:pos x="0" y="110"/>
                  </a:cxn>
                  <a:cxn ang="0">
                    <a:pos x="1" y="109"/>
                  </a:cxn>
                  <a:cxn ang="0">
                    <a:pos x="11" y="103"/>
                  </a:cxn>
                  <a:cxn ang="0">
                    <a:pos x="36" y="87"/>
                  </a:cxn>
                  <a:cxn ang="0">
                    <a:pos x="35" y="82"/>
                  </a:cxn>
                  <a:cxn ang="0">
                    <a:pos x="36" y="77"/>
                  </a:cxn>
                  <a:cxn ang="0">
                    <a:pos x="40" y="68"/>
                  </a:cxn>
                  <a:cxn ang="0">
                    <a:pos x="39" y="57"/>
                  </a:cxn>
                  <a:cxn ang="0">
                    <a:pos x="32" y="52"/>
                  </a:cxn>
                  <a:cxn ang="0">
                    <a:pos x="31" y="31"/>
                  </a:cxn>
                  <a:cxn ang="0">
                    <a:pos x="27" y="25"/>
                  </a:cxn>
                  <a:cxn ang="0">
                    <a:pos x="25" y="20"/>
                  </a:cxn>
                  <a:cxn ang="0">
                    <a:pos x="28" y="8"/>
                  </a:cxn>
                  <a:cxn ang="0">
                    <a:pos x="34" y="1"/>
                  </a:cxn>
                  <a:cxn ang="0">
                    <a:pos x="60" y="1"/>
                  </a:cxn>
                  <a:cxn ang="0">
                    <a:pos x="70" y="2"/>
                  </a:cxn>
                </a:cxnLst>
                <a:rect l="0" t="0" r="r" b="b"/>
                <a:pathLst>
                  <a:path w="110" h="165">
                    <a:moveTo>
                      <a:pt x="71" y="4"/>
                    </a:moveTo>
                    <a:lnTo>
                      <a:pt x="72" y="6"/>
                    </a:lnTo>
                    <a:lnTo>
                      <a:pt x="73" y="7"/>
                    </a:lnTo>
                    <a:lnTo>
                      <a:pt x="74" y="9"/>
                    </a:lnTo>
                    <a:lnTo>
                      <a:pt x="75" y="11"/>
                    </a:lnTo>
                    <a:lnTo>
                      <a:pt x="76" y="13"/>
                    </a:lnTo>
                    <a:lnTo>
                      <a:pt x="77" y="15"/>
                    </a:lnTo>
                    <a:lnTo>
                      <a:pt x="77" y="17"/>
                    </a:lnTo>
                    <a:lnTo>
                      <a:pt x="78" y="19"/>
                    </a:lnTo>
                    <a:lnTo>
                      <a:pt x="79" y="21"/>
                    </a:lnTo>
                    <a:lnTo>
                      <a:pt x="80" y="23"/>
                    </a:lnTo>
                    <a:lnTo>
                      <a:pt x="82" y="28"/>
                    </a:lnTo>
                    <a:lnTo>
                      <a:pt x="82" y="30"/>
                    </a:lnTo>
                    <a:lnTo>
                      <a:pt x="83" y="33"/>
                    </a:lnTo>
                    <a:lnTo>
                      <a:pt x="84" y="35"/>
                    </a:lnTo>
                    <a:lnTo>
                      <a:pt x="84" y="37"/>
                    </a:lnTo>
                    <a:lnTo>
                      <a:pt x="85" y="40"/>
                    </a:lnTo>
                    <a:lnTo>
                      <a:pt x="85" y="42"/>
                    </a:lnTo>
                    <a:lnTo>
                      <a:pt x="86" y="45"/>
                    </a:lnTo>
                    <a:lnTo>
                      <a:pt x="86" y="47"/>
                    </a:lnTo>
                    <a:lnTo>
                      <a:pt x="86" y="49"/>
                    </a:lnTo>
                    <a:lnTo>
                      <a:pt x="86" y="52"/>
                    </a:lnTo>
                    <a:lnTo>
                      <a:pt x="86" y="54"/>
                    </a:lnTo>
                    <a:lnTo>
                      <a:pt x="86" y="57"/>
                    </a:lnTo>
                    <a:lnTo>
                      <a:pt x="86" y="59"/>
                    </a:lnTo>
                    <a:lnTo>
                      <a:pt x="86" y="62"/>
                    </a:lnTo>
                    <a:lnTo>
                      <a:pt x="85" y="64"/>
                    </a:lnTo>
                    <a:lnTo>
                      <a:pt x="85" y="66"/>
                    </a:lnTo>
                    <a:lnTo>
                      <a:pt x="84" y="69"/>
                    </a:lnTo>
                    <a:lnTo>
                      <a:pt x="83" y="71"/>
                    </a:lnTo>
                    <a:lnTo>
                      <a:pt x="83" y="73"/>
                    </a:lnTo>
                    <a:lnTo>
                      <a:pt x="81" y="75"/>
                    </a:lnTo>
                    <a:lnTo>
                      <a:pt x="82" y="76"/>
                    </a:lnTo>
                    <a:lnTo>
                      <a:pt x="83" y="77"/>
                    </a:lnTo>
                    <a:lnTo>
                      <a:pt x="84" y="78"/>
                    </a:lnTo>
                    <a:lnTo>
                      <a:pt x="85" y="79"/>
                    </a:lnTo>
                    <a:lnTo>
                      <a:pt x="86" y="80"/>
                    </a:lnTo>
                    <a:lnTo>
                      <a:pt x="88" y="82"/>
                    </a:lnTo>
                    <a:lnTo>
                      <a:pt x="90" y="83"/>
                    </a:lnTo>
                    <a:lnTo>
                      <a:pt x="91" y="84"/>
                    </a:lnTo>
                    <a:lnTo>
                      <a:pt x="92" y="85"/>
                    </a:lnTo>
                    <a:lnTo>
                      <a:pt x="93" y="86"/>
                    </a:lnTo>
                    <a:lnTo>
                      <a:pt x="94" y="87"/>
                    </a:lnTo>
                    <a:lnTo>
                      <a:pt x="94" y="88"/>
                    </a:lnTo>
                    <a:lnTo>
                      <a:pt x="95" y="89"/>
                    </a:lnTo>
                    <a:lnTo>
                      <a:pt x="95" y="90"/>
                    </a:lnTo>
                    <a:lnTo>
                      <a:pt x="96" y="92"/>
                    </a:lnTo>
                    <a:lnTo>
                      <a:pt x="97" y="94"/>
                    </a:lnTo>
                    <a:lnTo>
                      <a:pt x="97" y="95"/>
                    </a:lnTo>
                    <a:lnTo>
                      <a:pt x="98" y="97"/>
                    </a:lnTo>
                    <a:lnTo>
                      <a:pt x="99" y="99"/>
                    </a:lnTo>
                    <a:lnTo>
                      <a:pt x="99" y="100"/>
                    </a:lnTo>
                    <a:lnTo>
                      <a:pt x="100" y="102"/>
                    </a:lnTo>
                    <a:lnTo>
                      <a:pt x="100" y="103"/>
                    </a:lnTo>
                    <a:lnTo>
                      <a:pt x="101" y="103"/>
                    </a:lnTo>
                    <a:lnTo>
                      <a:pt x="102" y="104"/>
                    </a:lnTo>
                    <a:lnTo>
                      <a:pt x="103" y="104"/>
                    </a:lnTo>
                    <a:lnTo>
                      <a:pt x="104" y="105"/>
                    </a:lnTo>
                    <a:lnTo>
                      <a:pt x="106" y="106"/>
                    </a:lnTo>
                    <a:lnTo>
                      <a:pt x="107" y="106"/>
                    </a:lnTo>
                    <a:lnTo>
                      <a:pt x="107" y="107"/>
                    </a:lnTo>
                    <a:lnTo>
                      <a:pt x="108" y="107"/>
                    </a:lnTo>
                    <a:lnTo>
                      <a:pt x="108" y="108"/>
                    </a:lnTo>
                    <a:lnTo>
                      <a:pt x="109" y="109"/>
                    </a:lnTo>
                    <a:lnTo>
                      <a:pt x="109" y="110"/>
                    </a:lnTo>
                    <a:lnTo>
                      <a:pt x="110" y="111"/>
                    </a:lnTo>
                    <a:lnTo>
                      <a:pt x="110" y="112"/>
                    </a:lnTo>
                    <a:lnTo>
                      <a:pt x="110" y="113"/>
                    </a:lnTo>
                    <a:lnTo>
                      <a:pt x="110" y="114"/>
                    </a:lnTo>
                    <a:lnTo>
                      <a:pt x="110" y="114"/>
                    </a:lnTo>
                    <a:lnTo>
                      <a:pt x="110" y="115"/>
                    </a:lnTo>
                    <a:lnTo>
                      <a:pt x="109" y="115"/>
                    </a:lnTo>
                    <a:lnTo>
                      <a:pt x="109" y="115"/>
                    </a:lnTo>
                    <a:lnTo>
                      <a:pt x="108" y="115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7"/>
                    </a:lnTo>
                    <a:lnTo>
                      <a:pt x="108" y="117"/>
                    </a:lnTo>
                    <a:lnTo>
                      <a:pt x="108" y="117"/>
                    </a:lnTo>
                    <a:lnTo>
                      <a:pt x="107" y="117"/>
                    </a:lnTo>
                    <a:lnTo>
                      <a:pt x="107" y="117"/>
                    </a:lnTo>
                    <a:lnTo>
                      <a:pt x="107" y="117"/>
                    </a:lnTo>
                    <a:lnTo>
                      <a:pt x="106" y="117"/>
                    </a:lnTo>
                    <a:lnTo>
                      <a:pt x="106" y="118"/>
                    </a:lnTo>
                    <a:lnTo>
                      <a:pt x="106" y="118"/>
                    </a:lnTo>
                    <a:lnTo>
                      <a:pt x="106" y="119"/>
                    </a:lnTo>
                    <a:lnTo>
                      <a:pt x="106" y="119"/>
                    </a:lnTo>
                    <a:lnTo>
                      <a:pt x="105" y="119"/>
                    </a:lnTo>
                    <a:lnTo>
                      <a:pt x="105" y="119"/>
                    </a:lnTo>
                    <a:lnTo>
                      <a:pt x="105" y="119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3" y="120"/>
                    </a:lnTo>
                    <a:lnTo>
                      <a:pt x="103" y="120"/>
                    </a:lnTo>
                    <a:lnTo>
                      <a:pt x="102" y="120"/>
                    </a:lnTo>
                    <a:lnTo>
                      <a:pt x="102" y="120"/>
                    </a:lnTo>
                    <a:lnTo>
                      <a:pt x="101" y="120"/>
                    </a:lnTo>
                    <a:lnTo>
                      <a:pt x="101" y="120"/>
                    </a:lnTo>
                    <a:lnTo>
                      <a:pt x="101" y="120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0" y="119"/>
                    </a:lnTo>
                    <a:lnTo>
                      <a:pt x="100" y="119"/>
                    </a:lnTo>
                    <a:lnTo>
                      <a:pt x="100" y="119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99" y="121"/>
                    </a:lnTo>
                    <a:lnTo>
                      <a:pt x="98" y="121"/>
                    </a:lnTo>
                    <a:lnTo>
                      <a:pt x="97" y="122"/>
                    </a:lnTo>
                    <a:lnTo>
                      <a:pt x="97" y="122"/>
                    </a:lnTo>
                    <a:lnTo>
                      <a:pt x="96" y="123"/>
                    </a:lnTo>
                    <a:lnTo>
                      <a:pt x="96" y="124"/>
                    </a:lnTo>
                    <a:lnTo>
                      <a:pt x="95" y="124"/>
                    </a:lnTo>
                    <a:lnTo>
                      <a:pt x="95" y="125"/>
                    </a:lnTo>
                    <a:lnTo>
                      <a:pt x="94" y="125"/>
                    </a:lnTo>
                    <a:lnTo>
                      <a:pt x="94" y="125"/>
                    </a:lnTo>
                    <a:lnTo>
                      <a:pt x="94" y="125"/>
                    </a:lnTo>
                    <a:lnTo>
                      <a:pt x="93" y="126"/>
                    </a:lnTo>
                    <a:lnTo>
                      <a:pt x="93" y="126"/>
                    </a:lnTo>
                    <a:lnTo>
                      <a:pt x="93" y="126"/>
                    </a:lnTo>
                    <a:lnTo>
                      <a:pt x="93" y="127"/>
                    </a:lnTo>
                    <a:lnTo>
                      <a:pt x="93" y="127"/>
                    </a:lnTo>
                    <a:lnTo>
                      <a:pt x="93" y="128"/>
                    </a:lnTo>
                    <a:lnTo>
                      <a:pt x="93" y="128"/>
                    </a:lnTo>
                    <a:lnTo>
                      <a:pt x="92" y="128"/>
                    </a:lnTo>
                    <a:lnTo>
                      <a:pt x="92" y="129"/>
                    </a:lnTo>
                    <a:lnTo>
                      <a:pt x="91" y="130"/>
                    </a:lnTo>
                    <a:lnTo>
                      <a:pt x="90" y="130"/>
                    </a:lnTo>
                    <a:lnTo>
                      <a:pt x="89" y="130"/>
                    </a:lnTo>
                    <a:lnTo>
                      <a:pt x="89" y="130"/>
                    </a:lnTo>
                    <a:lnTo>
                      <a:pt x="88" y="130"/>
                    </a:lnTo>
                    <a:lnTo>
                      <a:pt x="88" y="130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2"/>
                    </a:lnTo>
                    <a:lnTo>
                      <a:pt x="87" y="132"/>
                    </a:lnTo>
                    <a:lnTo>
                      <a:pt x="86" y="132"/>
                    </a:lnTo>
                    <a:lnTo>
                      <a:pt x="86" y="132"/>
                    </a:lnTo>
                    <a:lnTo>
                      <a:pt x="85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3" y="132"/>
                    </a:lnTo>
                    <a:lnTo>
                      <a:pt x="83" y="132"/>
                    </a:lnTo>
                    <a:lnTo>
                      <a:pt x="83" y="133"/>
                    </a:lnTo>
                    <a:lnTo>
                      <a:pt x="83" y="133"/>
                    </a:lnTo>
                    <a:lnTo>
                      <a:pt x="83" y="134"/>
                    </a:lnTo>
                    <a:lnTo>
                      <a:pt x="82" y="134"/>
                    </a:lnTo>
                    <a:lnTo>
                      <a:pt x="81" y="134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79" y="135"/>
                    </a:lnTo>
                    <a:lnTo>
                      <a:pt x="78" y="135"/>
                    </a:lnTo>
                    <a:lnTo>
                      <a:pt x="78" y="136"/>
                    </a:lnTo>
                    <a:lnTo>
                      <a:pt x="78" y="136"/>
                    </a:lnTo>
                    <a:lnTo>
                      <a:pt x="77" y="138"/>
                    </a:lnTo>
                    <a:lnTo>
                      <a:pt x="76" y="138"/>
                    </a:lnTo>
                    <a:lnTo>
                      <a:pt x="76" y="139"/>
                    </a:lnTo>
                    <a:lnTo>
                      <a:pt x="75" y="139"/>
                    </a:lnTo>
                    <a:lnTo>
                      <a:pt x="75" y="140"/>
                    </a:lnTo>
                    <a:lnTo>
                      <a:pt x="74" y="140"/>
                    </a:lnTo>
                    <a:lnTo>
                      <a:pt x="73" y="140"/>
                    </a:lnTo>
                    <a:lnTo>
                      <a:pt x="72" y="140"/>
                    </a:lnTo>
                    <a:lnTo>
                      <a:pt x="72" y="141"/>
                    </a:lnTo>
                    <a:lnTo>
                      <a:pt x="71" y="141"/>
                    </a:lnTo>
                    <a:lnTo>
                      <a:pt x="71" y="141"/>
                    </a:lnTo>
                    <a:lnTo>
                      <a:pt x="71" y="142"/>
                    </a:lnTo>
                    <a:lnTo>
                      <a:pt x="70" y="142"/>
                    </a:lnTo>
                    <a:lnTo>
                      <a:pt x="70" y="143"/>
                    </a:lnTo>
                    <a:lnTo>
                      <a:pt x="70" y="144"/>
                    </a:lnTo>
                    <a:lnTo>
                      <a:pt x="70" y="144"/>
                    </a:lnTo>
                    <a:lnTo>
                      <a:pt x="69" y="145"/>
                    </a:lnTo>
                    <a:lnTo>
                      <a:pt x="69" y="145"/>
                    </a:lnTo>
                    <a:lnTo>
                      <a:pt x="69" y="146"/>
                    </a:lnTo>
                    <a:lnTo>
                      <a:pt x="68" y="146"/>
                    </a:lnTo>
                    <a:lnTo>
                      <a:pt x="67" y="147"/>
                    </a:lnTo>
                    <a:lnTo>
                      <a:pt x="67" y="147"/>
                    </a:lnTo>
                    <a:lnTo>
                      <a:pt x="67" y="148"/>
                    </a:lnTo>
                    <a:lnTo>
                      <a:pt x="66" y="148"/>
                    </a:lnTo>
                    <a:lnTo>
                      <a:pt x="66" y="149"/>
                    </a:lnTo>
                    <a:lnTo>
                      <a:pt x="66" y="149"/>
                    </a:lnTo>
                    <a:lnTo>
                      <a:pt x="65" y="149"/>
                    </a:lnTo>
                    <a:lnTo>
                      <a:pt x="65" y="149"/>
                    </a:lnTo>
                    <a:lnTo>
                      <a:pt x="64" y="150"/>
                    </a:lnTo>
                    <a:lnTo>
                      <a:pt x="64" y="150"/>
                    </a:lnTo>
                    <a:lnTo>
                      <a:pt x="64" y="151"/>
                    </a:lnTo>
                    <a:lnTo>
                      <a:pt x="63" y="151"/>
                    </a:lnTo>
                    <a:lnTo>
                      <a:pt x="63" y="152"/>
                    </a:lnTo>
                    <a:lnTo>
                      <a:pt x="62" y="152"/>
                    </a:lnTo>
                    <a:lnTo>
                      <a:pt x="62" y="153"/>
                    </a:lnTo>
                    <a:lnTo>
                      <a:pt x="61" y="154"/>
                    </a:lnTo>
                    <a:lnTo>
                      <a:pt x="61" y="154"/>
                    </a:lnTo>
                    <a:lnTo>
                      <a:pt x="60" y="155"/>
                    </a:lnTo>
                    <a:lnTo>
                      <a:pt x="60" y="156"/>
                    </a:lnTo>
                    <a:lnTo>
                      <a:pt x="59" y="158"/>
                    </a:lnTo>
                    <a:lnTo>
                      <a:pt x="58" y="160"/>
                    </a:lnTo>
                    <a:lnTo>
                      <a:pt x="58" y="162"/>
                    </a:lnTo>
                    <a:lnTo>
                      <a:pt x="57" y="163"/>
                    </a:lnTo>
                    <a:lnTo>
                      <a:pt x="56" y="165"/>
                    </a:lnTo>
                    <a:lnTo>
                      <a:pt x="56" y="165"/>
                    </a:lnTo>
                    <a:lnTo>
                      <a:pt x="55" y="165"/>
                    </a:lnTo>
                    <a:lnTo>
                      <a:pt x="54" y="165"/>
                    </a:lnTo>
                    <a:lnTo>
                      <a:pt x="54" y="165"/>
                    </a:lnTo>
                    <a:lnTo>
                      <a:pt x="53" y="165"/>
                    </a:lnTo>
                    <a:lnTo>
                      <a:pt x="53" y="165"/>
                    </a:lnTo>
                    <a:lnTo>
                      <a:pt x="53" y="164"/>
                    </a:lnTo>
                    <a:lnTo>
                      <a:pt x="53" y="164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1" y="162"/>
                    </a:lnTo>
                    <a:lnTo>
                      <a:pt x="51" y="162"/>
                    </a:lnTo>
                    <a:lnTo>
                      <a:pt x="50" y="162"/>
                    </a:lnTo>
                    <a:lnTo>
                      <a:pt x="50" y="162"/>
                    </a:lnTo>
                    <a:lnTo>
                      <a:pt x="50" y="161"/>
                    </a:lnTo>
                    <a:lnTo>
                      <a:pt x="50" y="161"/>
                    </a:lnTo>
                    <a:lnTo>
                      <a:pt x="50" y="161"/>
                    </a:lnTo>
                    <a:lnTo>
                      <a:pt x="49" y="160"/>
                    </a:lnTo>
                    <a:lnTo>
                      <a:pt x="49" y="160"/>
                    </a:lnTo>
                    <a:lnTo>
                      <a:pt x="49" y="160"/>
                    </a:lnTo>
                    <a:lnTo>
                      <a:pt x="48" y="160"/>
                    </a:lnTo>
                    <a:lnTo>
                      <a:pt x="48" y="160"/>
                    </a:lnTo>
                    <a:lnTo>
                      <a:pt x="49" y="159"/>
                    </a:lnTo>
                    <a:lnTo>
                      <a:pt x="49" y="159"/>
                    </a:lnTo>
                    <a:lnTo>
                      <a:pt x="49" y="158"/>
                    </a:lnTo>
                    <a:lnTo>
                      <a:pt x="49" y="158"/>
                    </a:lnTo>
                    <a:lnTo>
                      <a:pt x="50" y="157"/>
                    </a:lnTo>
                    <a:lnTo>
                      <a:pt x="50" y="157"/>
                    </a:lnTo>
                    <a:lnTo>
                      <a:pt x="50" y="157"/>
                    </a:lnTo>
                    <a:lnTo>
                      <a:pt x="50" y="156"/>
                    </a:lnTo>
                    <a:lnTo>
                      <a:pt x="49" y="155"/>
                    </a:lnTo>
                    <a:lnTo>
                      <a:pt x="49" y="154"/>
                    </a:lnTo>
                    <a:lnTo>
                      <a:pt x="49" y="153"/>
                    </a:lnTo>
                    <a:lnTo>
                      <a:pt x="48" y="152"/>
                    </a:lnTo>
                    <a:lnTo>
                      <a:pt x="47" y="152"/>
                    </a:lnTo>
                    <a:lnTo>
                      <a:pt x="47" y="151"/>
                    </a:lnTo>
                    <a:lnTo>
                      <a:pt x="46" y="150"/>
                    </a:lnTo>
                    <a:lnTo>
                      <a:pt x="45" y="150"/>
                    </a:lnTo>
                    <a:lnTo>
                      <a:pt x="44" y="149"/>
                    </a:lnTo>
                    <a:lnTo>
                      <a:pt x="44" y="149"/>
                    </a:lnTo>
                    <a:lnTo>
                      <a:pt x="43" y="149"/>
                    </a:lnTo>
                    <a:lnTo>
                      <a:pt x="43" y="148"/>
                    </a:lnTo>
                    <a:lnTo>
                      <a:pt x="43" y="148"/>
                    </a:lnTo>
                    <a:lnTo>
                      <a:pt x="43" y="147"/>
                    </a:lnTo>
                    <a:lnTo>
                      <a:pt x="43" y="147"/>
                    </a:lnTo>
                    <a:lnTo>
                      <a:pt x="42" y="147"/>
                    </a:lnTo>
                    <a:lnTo>
                      <a:pt x="42" y="147"/>
                    </a:lnTo>
                    <a:lnTo>
                      <a:pt x="41" y="147"/>
                    </a:lnTo>
                    <a:lnTo>
                      <a:pt x="41" y="147"/>
                    </a:lnTo>
                    <a:lnTo>
                      <a:pt x="41" y="147"/>
                    </a:lnTo>
                    <a:lnTo>
                      <a:pt x="40" y="147"/>
                    </a:lnTo>
                    <a:lnTo>
                      <a:pt x="40" y="147"/>
                    </a:lnTo>
                    <a:lnTo>
                      <a:pt x="39" y="147"/>
                    </a:lnTo>
                    <a:lnTo>
                      <a:pt x="38" y="147"/>
                    </a:lnTo>
                    <a:lnTo>
                      <a:pt x="38" y="147"/>
                    </a:lnTo>
                    <a:lnTo>
                      <a:pt x="37" y="147"/>
                    </a:lnTo>
                    <a:lnTo>
                      <a:pt x="37" y="147"/>
                    </a:lnTo>
                    <a:lnTo>
                      <a:pt x="37" y="148"/>
                    </a:lnTo>
                    <a:lnTo>
                      <a:pt x="37" y="148"/>
                    </a:lnTo>
                    <a:lnTo>
                      <a:pt x="36" y="149"/>
                    </a:lnTo>
                    <a:lnTo>
                      <a:pt x="35" y="148"/>
                    </a:lnTo>
                    <a:lnTo>
                      <a:pt x="34" y="148"/>
                    </a:lnTo>
                    <a:lnTo>
                      <a:pt x="32" y="148"/>
                    </a:lnTo>
                    <a:lnTo>
                      <a:pt x="31" y="148"/>
                    </a:lnTo>
                    <a:lnTo>
                      <a:pt x="28" y="149"/>
                    </a:lnTo>
                    <a:lnTo>
                      <a:pt x="25" y="149"/>
                    </a:lnTo>
                    <a:lnTo>
                      <a:pt x="24" y="149"/>
                    </a:lnTo>
                    <a:lnTo>
                      <a:pt x="22" y="149"/>
                    </a:lnTo>
                    <a:lnTo>
                      <a:pt x="21" y="149"/>
                    </a:lnTo>
                    <a:lnTo>
                      <a:pt x="20" y="149"/>
                    </a:lnTo>
                    <a:lnTo>
                      <a:pt x="19" y="148"/>
                    </a:lnTo>
                    <a:lnTo>
                      <a:pt x="18" y="148"/>
                    </a:lnTo>
                    <a:lnTo>
                      <a:pt x="17" y="148"/>
                    </a:lnTo>
                    <a:lnTo>
                      <a:pt x="16" y="147"/>
                    </a:lnTo>
                    <a:lnTo>
                      <a:pt x="17" y="146"/>
                    </a:lnTo>
                    <a:lnTo>
                      <a:pt x="17" y="146"/>
                    </a:lnTo>
                    <a:lnTo>
                      <a:pt x="16" y="145"/>
                    </a:lnTo>
                    <a:lnTo>
                      <a:pt x="16" y="145"/>
                    </a:lnTo>
                    <a:lnTo>
                      <a:pt x="16" y="144"/>
                    </a:lnTo>
                    <a:lnTo>
                      <a:pt x="16" y="144"/>
                    </a:lnTo>
                    <a:lnTo>
                      <a:pt x="15" y="144"/>
                    </a:lnTo>
                    <a:lnTo>
                      <a:pt x="15" y="144"/>
                    </a:lnTo>
                    <a:lnTo>
                      <a:pt x="15" y="139"/>
                    </a:lnTo>
                    <a:lnTo>
                      <a:pt x="15" y="138"/>
                    </a:lnTo>
                    <a:lnTo>
                      <a:pt x="15" y="137"/>
                    </a:lnTo>
                    <a:lnTo>
                      <a:pt x="15" y="137"/>
                    </a:lnTo>
                    <a:lnTo>
                      <a:pt x="15" y="136"/>
                    </a:lnTo>
                    <a:lnTo>
                      <a:pt x="14" y="136"/>
                    </a:lnTo>
                    <a:lnTo>
                      <a:pt x="14" y="136"/>
                    </a:lnTo>
                    <a:lnTo>
                      <a:pt x="13" y="135"/>
                    </a:lnTo>
                    <a:lnTo>
                      <a:pt x="13" y="135"/>
                    </a:lnTo>
                    <a:lnTo>
                      <a:pt x="13" y="130"/>
                    </a:lnTo>
                    <a:lnTo>
                      <a:pt x="13" y="130"/>
                    </a:lnTo>
                    <a:lnTo>
                      <a:pt x="13" y="129"/>
                    </a:lnTo>
                    <a:lnTo>
                      <a:pt x="13" y="129"/>
                    </a:lnTo>
                    <a:lnTo>
                      <a:pt x="13" y="129"/>
                    </a:lnTo>
                    <a:lnTo>
                      <a:pt x="12" y="129"/>
                    </a:lnTo>
                    <a:lnTo>
                      <a:pt x="12" y="129"/>
                    </a:lnTo>
                    <a:lnTo>
                      <a:pt x="11" y="129"/>
                    </a:lnTo>
                    <a:lnTo>
                      <a:pt x="11" y="124"/>
                    </a:lnTo>
                    <a:lnTo>
                      <a:pt x="11" y="124"/>
                    </a:lnTo>
                    <a:lnTo>
                      <a:pt x="11" y="124"/>
                    </a:lnTo>
                    <a:lnTo>
                      <a:pt x="10" y="124"/>
                    </a:lnTo>
                    <a:lnTo>
                      <a:pt x="10" y="124"/>
                    </a:lnTo>
                    <a:lnTo>
                      <a:pt x="10" y="123"/>
                    </a:lnTo>
                    <a:lnTo>
                      <a:pt x="9" y="123"/>
                    </a:lnTo>
                    <a:lnTo>
                      <a:pt x="9" y="123"/>
                    </a:lnTo>
                    <a:lnTo>
                      <a:pt x="9" y="123"/>
                    </a:lnTo>
                    <a:lnTo>
                      <a:pt x="9" y="122"/>
                    </a:lnTo>
                    <a:lnTo>
                      <a:pt x="8" y="122"/>
                    </a:lnTo>
                    <a:lnTo>
                      <a:pt x="7" y="122"/>
                    </a:lnTo>
                    <a:lnTo>
                      <a:pt x="6" y="122"/>
                    </a:lnTo>
                    <a:lnTo>
                      <a:pt x="5" y="122"/>
                    </a:lnTo>
                    <a:lnTo>
                      <a:pt x="4" y="122"/>
                    </a:lnTo>
                    <a:lnTo>
                      <a:pt x="3" y="122"/>
                    </a:lnTo>
                    <a:lnTo>
                      <a:pt x="2" y="122"/>
                    </a:lnTo>
                    <a:lnTo>
                      <a:pt x="1" y="122"/>
                    </a:lnTo>
                    <a:lnTo>
                      <a:pt x="1" y="121"/>
                    </a:lnTo>
                    <a:lnTo>
                      <a:pt x="1" y="120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1" y="118"/>
                    </a:lnTo>
                    <a:lnTo>
                      <a:pt x="1" y="118"/>
                    </a:lnTo>
                    <a:lnTo>
                      <a:pt x="1" y="117"/>
                    </a:lnTo>
                    <a:lnTo>
                      <a:pt x="1" y="116"/>
                    </a:lnTo>
                    <a:lnTo>
                      <a:pt x="1" y="116"/>
                    </a:lnTo>
                    <a:lnTo>
                      <a:pt x="1" y="116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09"/>
                    </a:lnTo>
                    <a:lnTo>
                      <a:pt x="1" y="109"/>
                    </a:lnTo>
                    <a:lnTo>
                      <a:pt x="2" y="109"/>
                    </a:lnTo>
                    <a:lnTo>
                      <a:pt x="2" y="109"/>
                    </a:lnTo>
                    <a:lnTo>
                      <a:pt x="3" y="109"/>
                    </a:lnTo>
                    <a:lnTo>
                      <a:pt x="3" y="109"/>
                    </a:lnTo>
                    <a:lnTo>
                      <a:pt x="5" y="107"/>
                    </a:lnTo>
                    <a:lnTo>
                      <a:pt x="7" y="106"/>
                    </a:lnTo>
                    <a:lnTo>
                      <a:pt x="9" y="104"/>
                    </a:lnTo>
                    <a:lnTo>
                      <a:pt x="11" y="103"/>
                    </a:lnTo>
                    <a:lnTo>
                      <a:pt x="15" y="100"/>
                    </a:lnTo>
                    <a:lnTo>
                      <a:pt x="20" y="98"/>
                    </a:lnTo>
                    <a:lnTo>
                      <a:pt x="24" y="95"/>
                    </a:lnTo>
                    <a:lnTo>
                      <a:pt x="28" y="93"/>
                    </a:lnTo>
                    <a:lnTo>
                      <a:pt x="30" y="91"/>
                    </a:lnTo>
                    <a:lnTo>
                      <a:pt x="32" y="90"/>
                    </a:lnTo>
                    <a:lnTo>
                      <a:pt x="34" y="89"/>
                    </a:lnTo>
                    <a:lnTo>
                      <a:pt x="36" y="87"/>
                    </a:lnTo>
                    <a:lnTo>
                      <a:pt x="37" y="86"/>
                    </a:lnTo>
                    <a:lnTo>
                      <a:pt x="37" y="86"/>
                    </a:lnTo>
                    <a:lnTo>
                      <a:pt x="37" y="85"/>
                    </a:lnTo>
                    <a:lnTo>
                      <a:pt x="36" y="85"/>
                    </a:lnTo>
                    <a:lnTo>
                      <a:pt x="36" y="84"/>
                    </a:lnTo>
                    <a:lnTo>
                      <a:pt x="36" y="84"/>
                    </a:lnTo>
                    <a:lnTo>
                      <a:pt x="35" y="83"/>
                    </a:lnTo>
                    <a:lnTo>
                      <a:pt x="35" y="82"/>
                    </a:lnTo>
                    <a:lnTo>
                      <a:pt x="35" y="82"/>
                    </a:lnTo>
                    <a:lnTo>
                      <a:pt x="35" y="81"/>
                    </a:lnTo>
                    <a:lnTo>
                      <a:pt x="34" y="81"/>
                    </a:lnTo>
                    <a:lnTo>
                      <a:pt x="34" y="80"/>
                    </a:lnTo>
                    <a:lnTo>
                      <a:pt x="34" y="80"/>
                    </a:lnTo>
                    <a:lnTo>
                      <a:pt x="35" y="79"/>
                    </a:lnTo>
                    <a:lnTo>
                      <a:pt x="36" y="78"/>
                    </a:lnTo>
                    <a:lnTo>
                      <a:pt x="36" y="77"/>
                    </a:lnTo>
                    <a:lnTo>
                      <a:pt x="37" y="76"/>
                    </a:lnTo>
                    <a:lnTo>
                      <a:pt x="38" y="76"/>
                    </a:lnTo>
                    <a:lnTo>
                      <a:pt x="38" y="75"/>
                    </a:lnTo>
                    <a:lnTo>
                      <a:pt x="39" y="73"/>
                    </a:lnTo>
                    <a:lnTo>
                      <a:pt x="39" y="72"/>
                    </a:lnTo>
                    <a:lnTo>
                      <a:pt x="39" y="71"/>
                    </a:lnTo>
                    <a:lnTo>
                      <a:pt x="40" y="70"/>
                    </a:lnTo>
                    <a:lnTo>
                      <a:pt x="40" y="68"/>
                    </a:lnTo>
                    <a:lnTo>
                      <a:pt x="40" y="67"/>
                    </a:lnTo>
                    <a:lnTo>
                      <a:pt x="40" y="65"/>
                    </a:lnTo>
                    <a:lnTo>
                      <a:pt x="40" y="64"/>
                    </a:lnTo>
                    <a:lnTo>
                      <a:pt x="40" y="62"/>
                    </a:lnTo>
                    <a:lnTo>
                      <a:pt x="40" y="60"/>
                    </a:lnTo>
                    <a:lnTo>
                      <a:pt x="40" y="59"/>
                    </a:lnTo>
                    <a:lnTo>
                      <a:pt x="39" y="58"/>
                    </a:lnTo>
                    <a:lnTo>
                      <a:pt x="39" y="57"/>
                    </a:lnTo>
                    <a:lnTo>
                      <a:pt x="38" y="57"/>
                    </a:lnTo>
                    <a:lnTo>
                      <a:pt x="37" y="56"/>
                    </a:lnTo>
                    <a:lnTo>
                      <a:pt x="36" y="56"/>
                    </a:lnTo>
                    <a:lnTo>
                      <a:pt x="35" y="55"/>
                    </a:lnTo>
                    <a:lnTo>
                      <a:pt x="34" y="54"/>
                    </a:lnTo>
                    <a:lnTo>
                      <a:pt x="33" y="54"/>
                    </a:lnTo>
                    <a:lnTo>
                      <a:pt x="33" y="53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1"/>
                    </a:lnTo>
                    <a:lnTo>
                      <a:pt x="31" y="50"/>
                    </a:lnTo>
                    <a:lnTo>
                      <a:pt x="31" y="49"/>
                    </a:lnTo>
                    <a:lnTo>
                      <a:pt x="31" y="44"/>
                    </a:lnTo>
                    <a:lnTo>
                      <a:pt x="31" y="40"/>
                    </a:lnTo>
                    <a:lnTo>
                      <a:pt x="31" y="35"/>
                    </a:lnTo>
                    <a:lnTo>
                      <a:pt x="31" y="31"/>
                    </a:lnTo>
                    <a:lnTo>
                      <a:pt x="31" y="30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9" y="27"/>
                    </a:lnTo>
                    <a:lnTo>
                      <a:pt x="28" y="27"/>
                    </a:lnTo>
                    <a:lnTo>
                      <a:pt x="27" y="26"/>
                    </a:lnTo>
                    <a:lnTo>
                      <a:pt x="27" y="25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5" y="23"/>
                    </a:lnTo>
                    <a:lnTo>
                      <a:pt x="25" y="22"/>
                    </a:lnTo>
                    <a:lnTo>
                      <a:pt x="25" y="21"/>
                    </a:lnTo>
                    <a:lnTo>
                      <a:pt x="24" y="21"/>
                    </a:lnTo>
                    <a:lnTo>
                      <a:pt x="25" y="20"/>
                    </a:lnTo>
                    <a:lnTo>
                      <a:pt x="25" y="20"/>
                    </a:lnTo>
                    <a:lnTo>
                      <a:pt x="25" y="19"/>
                    </a:lnTo>
                    <a:lnTo>
                      <a:pt x="25" y="18"/>
                    </a:lnTo>
                    <a:lnTo>
                      <a:pt x="25" y="17"/>
                    </a:lnTo>
                    <a:lnTo>
                      <a:pt x="26" y="15"/>
                    </a:lnTo>
                    <a:lnTo>
                      <a:pt x="26" y="13"/>
                    </a:lnTo>
                    <a:lnTo>
                      <a:pt x="27" y="11"/>
                    </a:lnTo>
                    <a:lnTo>
                      <a:pt x="27" y="9"/>
                    </a:lnTo>
                    <a:lnTo>
                      <a:pt x="28" y="8"/>
                    </a:lnTo>
                    <a:lnTo>
                      <a:pt x="28" y="7"/>
                    </a:lnTo>
                    <a:lnTo>
                      <a:pt x="28" y="6"/>
                    </a:lnTo>
                    <a:lnTo>
                      <a:pt x="28" y="5"/>
                    </a:lnTo>
                    <a:lnTo>
                      <a:pt x="28" y="4"/>
                    </a:lnTo>
                    <a:lnTo>
                      <a:pt x="28" y="2"/>
                    </a:lnTo>
                    <a:lnTo>
                      <a:pt x="30" y="2"/>
                    </a:lnTo>
                    <a:lnTo>
                      <a:pt x="32" y="1"/>
                    </a:lnTo>
                    <a:lnTo>
                      <a:pt x="34" y="1"/>
                    </a:lnTo>
                    <a:lnTo>
                      <a:pt x="37" y="0"/>
                    </a:lnTo>
                    <a:lnTo>
                      <a:pt x="39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7" y="0"/>
                    </a:lnTo>
                    <a:lnTo>
                      <a:pt x="52" y="0"/>
                    </a:lnTo>
                    <a:lnTo>
                      <a:pt x="58" y="1"/>
                    </a:lnTo>
                    <a:lnTo>
                      <a:pt x="60" y="1"/>
                    </a:lnTo>
                    <a:lnTo>
                      <a:pt x="63" y="1"/>
                    </a:lnTo>
                    <a:lnTo>
                      <a:pt x="66" y="1"/>
                    </a:lnTo>
                    <a:lnTo>
                      <a:pt x="68" y="0"/>
                    </a:lnTo>
                    <a:lnTo>
                      <a:pt x="69" y="1"/>
                    </a:lnTo>
                    <a:lnTo>
                      <a:pt x="69" y="1"/>
                    </a:lnTo>
                    <a:lnTo>
                      <a:pt x="70" y="1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1" y="3"/>
                    </a:lnTo>
                    <a:lnTo>
                      <a:pt x="71" y="3"/>
                    </a:lnTo>
                    <a:lnTo>
                      <a:pt x="71" y="4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6" name="Freeform 14"/>
              <p:cNvSpPr>
                <a:spLocks/>
              </p:cNvSpPr>
              <p:nvPr/>
            </p:nvSpPr>
            <p:spPr bwMode="auto">
              <a:xfrm>
                <a:off x="5592303" y="1532639"/>
                <a:ext cx="1150398" cy="1447214"/>
              </a:xfrm>
              <a:custGeom>
                <a:avLst/>
                <a:gdLst/>
                <a:ahLst/>
                <a:cxnLst>
                  <a:cxn ang="0">
                    <a:pos x="111" y="79"/>
                  </a:cxn>
                  <a:cxn ang="0">
                    <a:pos x="102" y="88"/>
                  </a:cxn>
                  <a:cxn ang="0">
                    <a:pos x="98" y="95"/>
                  </a:cxn>
                  <a:cxn ang="0">
                    <a:pos x="99" y="104"/>
                  </a:cxn>
                  <a:cxn ang="0">
                    <a:pos x="107" y="113"/>
                  </a:cxn>
                  <a:cxn ang="0">
                    <a:pos x="109" y="121"/>
                  </a:cxn>
                  <a:cxn ang="0">
                    <a:pos x="105" y="126"/>
                  </a:cxn>
                  <a:cxn ang="0">
                    <a:pos x="96" y="128"/>
                  </a:cxn>
                  <a:cxn ang="0">
                    <a:pos x="91" y="118"/>
                  </a:cxn>
                  <a:cxn ang="0">
                    <a:pos x="82" y="112"/>
                  </a:cxn>
                  <a:cxn ang="0">
                    <a:pos x="74" y="113"/>
                  </a:cxn>
                  <a:cxn ang="0">
                    <a:pos x="69" y="120"/>
                  </a:cxn>
                  <a:cxn ang="0">
                    <a:pos x="64" y="126"/>
                  </a:cxn>
                  <a:cxn ang="0">
                    <a:pos x="50" y="128"/>
                  </a:cxn>
                  <a:cxn ang="0">
                    <a:pos x="45" y="133"/>
                  </a:cxn>
                  <a:cxn ang="0">
                    <a:pos x="43" y="135"/>
                  </a:cxn>
                  <a:cxn ang="0">
                    <a:pos x="41" y="130"/>
                  </a:cxn>
                  <a:cxn ang="0">
                    <a:pos x="40" y="126"/>
                  </a:cxn>
                  <a:cxn ang="0">
                    <a:pos x="34" y="122"/>
                  </a:cxn>
                  <a:cxn ang="0">
                    <a:pos x="21" y="119"/>
                  </a:cxn>
                  <a:cxn ang="0">
                    <a:pos x="19" y="113"/>
                  </a:cxn>
                  <a:cxn ang="0">
                    <a:pos x="18" y="108"/>
                  </a:cxn>
                  <a:cxn ang="0">
                    <a:pos x="15" y="106"/>
                  </a:cxn>
                  <a:cxn ang="0">
                    <a:pos x="14" y="102"/>
                  </a:cxn>
                  <a:cxn ang="0">
                    <a:pos x="11" y="98"/>
                  </a:cxn>
                  <a:cxn ang="0">
                    <a:pos x="14" y="96"/>
                  </a:cxn>
                  <a:cxn ang="0">
                    <a:pos x="14" y="89"/>
                  </a:cxn>
                  <a:cxn ang="0">
                    <a:pos x="16" y="82"/>
                  </a:cxn>
                  <a:cxn ang="0">
                    <a:pos x="18" y="73"/>
                  </a:cxn>
                  <a:cxn ang="0">
                    <a:pos x="16" y="64"/>
                  </a:cxn>
                  <a:cxn ang="0">
                    <a:pos x="12" y="59"/>
                  </a:cxn>
                  <a:cxn ang="0">
                    <a:pos x="6" y="56"/>
                  </a:cxn>
                  <a:cxn ang="0">
                    <a:pos x="5" y="55"/>
                  </a:cxn>
                  <a:cxn ang="0">
                    <a:pos x="4" y="50"/>
                  </a:cxn>
                  <a:cxn ang="0">
                    <a:pos x="0" y="48"/>
                  </a:cxn>
                  <a:cxn ang="0">
                    <a:pos x="1" y="43"/>
                  </a:cxn>
                  <a:cxn ang="0">
                    <a:pos x="3" y="38"/>
                  </a:cxn>
                  <a:cxn ang="0">
                    <a:pos x="2" y="35"/>
                  </a:cxn>
                  <a:cxn ang="0">
                    <a:pos x="4" y="32"/>
                  </a:cxn>
                  <a:cxn ang="0">
                    <a:pos x="10" y="30"/>
                  </a:cxn>
                  <a:cxn ang="0">
                    <a:pos x="14" y="32"/>
                  </a:cxn>
                  <a:cxn ang="0">
                    <a:pos x="18" y="30"/>
                  </a:cxn>
                  <a:cxn ang="0">
                    <a:pos x="24" y="24"/>
                  </a:cxn>
                  <a:cxn ang="0">
                    <a:pos x="33" y="19"/>
                  </a:cxn>
                  <a:cxn ang="0">
                    <a:pos x="36" y="13"/>
                  </a:cxn>
                  <a:cxn ang="0">
                    <a:pos x="44" y="10"/>
                  </a:cxn>
                  <a:cxn ang="0">
                    <a:pos x="48" y="4"/>
                  </a:cxn>
                  <a:cxn ang="0">
                    <a:pos x="54" y="3"/>
                  </a:cxn>
                  <a:cxn ang="0">
                    <a:pos x="59" y="0"/>
                  </a:cxn>
                  <a:cxn ang="0">
                    <a:pos x="61" y="6"/>
                  </a:cxn>
                  <a:cxn ang="0">
                    <a:pos x="58" y="10"/>
                  </a:cxn>
                  <a:cxn ang="0">
                    <a:pos x="55" y="13"/>
                  </a:cxn>
                  <a:cxn ang="0">
                    <a:pos x="60" y="17"/>
                  </a:cxn>
                  <a:cxn ang="0">
                    <a:pos x="70" y="22"/>
                  </a:cxn>
                  <a:cxn ang="0">
                    <a:pos x="77" y="26"/>
                  </a:cxn>
                  <a:cxn ang="0">
                    <a:pos x="101" y="54"/>
                  </a:cxn>
                </a:cxnLst>
                <a:rect l="0" t="0" r="r" b="b"/>
                <a:pathLst>
                  <a:path w="116" h="135">
                    <a:moveTo>
                      <a:pt x="116" y="77"/>
                    </a:moveTo>
                    <a:lnTo>
                      <a:pt x="115" y="77"/>
                    </a:lnTo>
                    <a:lnTo>
                      <a:pt x="115" y="76"/>
                    </a:lnTo>
                    <a:lnTo>
                      <a:pt x="114" y="76"/>
                    </a:lnTo>
                    <a:lnTo>
                      <a:pt x="113" y="77"/>
                    </a:lnTo>
                    <a:lnTo>
                      <a:pt x="112" y="78"/>
                    </a:lnTo>
                    <a:lnTo>
                      <a:pt x="111" y="79"/>
                    </a:lnTo>
                    <a:lnTo>
                      <a:pt x="109" y="80"/>
                    </a:lnTo>
                    <a:lnTo>
                      <a:pt x="108" y="81"/>
                    </a:lnTo>
                    <a:lnTo>
                      <a:pt x="106" y="83"/>
                    </a:lnTo>
                    <a:lnTo>
                      <a:pt x="105" y="84"/>
                    </a:lnTo>
                    <a:lnTo>
                      <a:pt x="104" y="85"/>
                    </a:lnTo>
                    <a:lnTo>
                      <a:pt x="103" y="87"/>
                    </a:lnTo>
                    <a:lnTo>
                      <a:pt x="102" y="88"/>
                    </a:lnTo>
                    <a:lnTo>
                      <a:pt x="101" y="89"/>
                    </a:lnTo>
                    <a:lnTo>
                      <a:pt x="100" y="91"/>
                    </a:lnTo>
                    <a:lnTo>
                      <a:pt x="99" y="92"/>
                    </a:lnTo>
                    <a:lnTo>
                      <a:pt x="99" y="93"/>
                    </a:lnTo>
                    <a:lnTo>
                      <a:pt x="99" y="94"/>
                    </a:lnTo>
                    <a:lnTo>
                      <a:pt x="98" y="94"/>
                    </a:lnTo>
                    <a:lnTo>
                      <a:pt x="98" y="95"/>
                    </a:lnTo>
                    <a:lnTo>
                      <a:pt x="98" y="97"/>
                    </a:lnTo>
                    <a:lnTo>
                      <a:pt x="98" y="98"/>
                    </a:lnTo>
                    <a:lnTo>
                      <a:pt x="98" y="99"/>
                    </a:lnTo>
                    <a:lnTo>
                      <a:pt x="98" y="100"/>
                    </a:lnTo>
                    <a:lnTo>
                      <a:pt x="98" y="101"/>
                    </a:lnTo>
                    <a:lnTo>
                      <a:pt x="99" y="103"/>
                    </a:lnTo>
                    <a:lnTo>
                      <a:pt x="99" y="104"/>
                    </a:lnTo>
                    <a:lnTo>
                      <a:pt x="100" y="105"/>
                    </a:lnTo>
                    <a:lnTo>
                      <a:pt x="101" y="106"/>
                    </a:lnTo>
                    <a:lnTo>
                      <a:pt x="103" y="107"/>
                    </a:lnTo>
                    <a:lnTo>
                      <a:pt x="105" y="109"/>
                    </a:lnTo>
                    <a:lnTo>
                      <a:pt x="106" y="110"/>
                    </a:lnTo>
                    <a:lnTo>
                      <a:pt x="107" y="111"/>
                    </a:lnTo>
                    <a:lnTo>
                      <a:pt x="107" y="113"/>
                    </a:lnTo>
                    <a:lnTo>
                      <a:pt x="108" y="114"/>
                    </a:lnTo>
                    <a:lnTo>
                      <a:pt x="109" y="115"/>
                    </a:lnTo>
                    <a:lnTo>
                      <a:pt x="109" y="116"/>
                    </a:lnTo>
                    <a:lnTo>
                      <a:pt x="110" y="118"/>
                    </a:lnTo>
                    <a:lnTo>
                      <a:pt x="110" y="119"/>
                    </a:lnTo>
                    <a:lnTo>
                      <a:pt x="110" y="120"/>
                    </a:lnTo>
                    <a:lnTo>
                      <a:pt x="109" y="121"/>
                    </a:lnTo>
                    <a:lnTo>
                      <a:pt x="109" y="122"/>
                    </a:lnTo>
                    <a:lnTo>
                      <a:pt x="108" y="123"/>
                    </a:lnTo>
                    <a:lnTo>
                      <a:pt x="108" y="124"/>
                    </a:lnTo>
                    <a:lnTo>
                      <a:pt x="107" y="124"/>
                    </a:lnTo>
                    <a:lnTo>
                      <a:pt x="106" y="125"/>
                    </a:lnTo>
                    <a:lnTo>
                      <a:pt x="105" y="126"/>
                    </a:lnTo>
                    <a:lnTo>
                      <a:pt x="105" y="126"/>
                    </a:lnTo>
                    <a:lnTo>
                      <a:pt x="104" y="127"/>
                    </a:lnTo>
                    <a:lnTo>
                      <a:pt x="103" y="127"/>
                    </a:lnTo>
                    <a:lnTo>
                      <a:pt x="102" y="128"/>
                    </a:lnTo>
                    <a:lnTo>
                      <a:pt x="100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6" y="128"/>
                    </a:lnTo>
                    <a:lnTo>
                      <a:pt x="95" y="128"/>
                    </a:lnTo>
                    <a:lnTo>
                      <a:pt x="94" y="126"/>
                    </a:lnTo>
                    <a:lnTo>
                      <a:pt x="94" y="125"/>
                    </a:lnTo>
                    <a:lnTo>
                      <a:pt x="93" y="123"/>
                    </a:lnTo>
                    <a:lnTo>
                      <a:pt x="93" y="121"/>
                    </a:lnTo>
                    <a:lnTo>
                      <a:pt x="92" y="120"/>
                    </a:lnTo>
                    <a:lnTo>
                      <a:pt x="91" y="118"/>
                    </a:lnTo>
                    <a:lnTo>
                      <a:pt x="90" y="117"/>
                    </a:lnTo>
                    <a:lnTo>
                      <a:pt x="89" y="116"/>
                    </a:lnTo>
                    <a:lnTo>
                      <a:pt x="88" y="115"/>
                    </a:lnTo>
                    <a:lnTo>
                      <a:pt x="87" y="114"/>
                    </a:lnTo>
                    <a:lnTo>
                      <a:pt x="85" y="113"/>
                    </a:lnTo>
                    <a:lnTo>
                      <a:pt x="84" y="113"/>
                    </a:lnTo>
                    <a:lnTo>
                      <a:pt x="82" y="112"/>
                    </a:lnTo>
                    <a:lnTo>
                      <a:pt x="80" y="112"/>
                    </a:lnTo>
                    <a:lnTo>
                      <a:pt x="78" y="112"/>
                    </a:lnTo>
                    <a:lnTo>
                      <a:pt x="76" y="111"/>
                    </a:lnTo>
                    <a:lnTo>
                      <a:pt x="76" y="112"/>
                    </a:lnTo>
                    <a:lnTo>
                      <a:pt x="75" y="112"/>
                    </a:lnTo>
                    <a:lnTo>
                      <a:pt x="75" y="112"/>
                    </a:lnTo>
                    <a:lnTo>
                      <a:pt x="74" y="113"/>
                    </a:lnTo>
                    <a:lnTo>
                      <a:pt x="73" y="113"/>
                    </a:lnTo>
                    <a:lnTo>
                      <a:pt x="72" y="114"/>
                    </a:lnTo>
                    <a:lnTo>
                      <a:pt x="71" y="115"/>
                    </a:lnTo>
                    <a:lnTo>
                      <a:pt x="71" y="116"/>
                    </a:lnTo>
                    <a:lnTo>
                      <a:pt x="70" y="118"/>
                    </a:lnTo>
                    <a:lnTo>
                      <a:pt x="70" y="119"/>
                    </a:lnTo>
                    <a:lnTo>
                      <a:pt x="69" y="120"/>
                    </a:lnTo>
                    <a:lnTo>
                      <a:pt x="68" y="121"/>
                    </a:lnTo>
                    <a:lnTo>
                      <a:pt x="68" y="122"/>
                    </a:lnTo>
                    <a:lnTo>
                      <a:pt x="67" y="123"/>
                    </a:lnTo>
                    <a:lnTo>
                      <a:pt x="66" y="124"/>
                    </a:lnTo>
                    <a:lnTo>
                      <a:pt x="65" y="125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3" y="126"/>
                    </a:lnTo>
                    <a:lnTo>
                      <a:pt x="53" y="126"/>
                    </a:lnTo>
                    <a:lnTo>
                      <a:pt x="53" y="126"/>
                    </a:lnTo>
                    <a:lnTo>
                      <a:pt x="52" y="127"/>
                    </a:lnTo>
                    <a:lnTo>
                      <a:pt x="52" y="127"/>
                    </a:lnTo>
                    <a:lnTo>
                      <a:pt x="51" y="127"/>
                    </a:lnTo>
                    <a:lnTo>
                      <a:pt x="50" y="128"/>
                    </a:lnTo>
                    <a:lnTo>
                      <a:pt x="50" y="128"/>
                    </a:lnTo>
                    <a:lnTo>
                      <a:pt x="49" y="129"/>
                    </a:lnTo>
                    <a:lnTo>
                      <a:pt x="48" y="130"/>
                    </a:lnTo>
                    <a:lnTo>
                      <a:pt x="47" y="131"/>
                    </a:lnTo>
                    <a:lnTo>
                      <a:pt x="47" y="132"/>
                    </a:lnTo>
                    <a:lnTo>
                      <a:pt x="46" y="133"/>
                    </a:lnTo>
                    <a:lnTo>
                      <a:pt x="45" y="133"/>
                    </a:lnTo>
                    <a:lnTo>
                      <a:pt x="44" y="134"/>
                    </a:lnTo>
                    <a:lnTo>
                      <a:pt x="44" y="135"/>
                    </a:lnTo>
                    <a:lnTo>
                      <a:pt x="44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2" y="135"/>
                    </a:lnTo>
                    <a:lnTo>
                      <a:pt x="42" y="135"/>
                    </a:lnTo>
                    <a:lnTo>
                      <a:pt x="42" y="135"/>
                    </a:lnTo>
                    <a:lnTo>
                      <a:pt x="41" y="135"/>
                    </a:lnTo>
                    <a:lnTo>
                      <a:pt x="41" y="133"/>
                    </a:lnTo>
                    <a:lnTo>
                      <a:pt x="41" y="131"/>
                    </a:lnTo>
                    <a:lnTo>
                      <a:pt x="41" y="130"/>
                    </a:lnTo>
                    <a:lnTo>
                      <a:pt x="41" y="128"/>
                    </a:lnTo>
                    <a:lnTo>
                      <a:pt x="42" y="128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39" y="125"/>
                    </a:lnTo>
                    <a:lnTo>
                      <a:pt x="38" y="125"/>
                    </a:lnTo>
                    <a:lnTo>
                      <a:pt x="37" y="124"/>
                    </a:lnTo>
                    <a:lnTo>
                      <a:pt x="35" y="123"/>
                    </a:lnTo>
                    <a:lnTo>
                      <a:pt x="34" y="122"/>
                    </a:lnTo>
                    <a:lnTo>
                      <a:pt x="33" y="122"/>
                    </a:lnTo>
                    <a:lnTo>
                      <a:pt x="32" y="121"/>
                    </a:lnTo>
                    <a:lnTo>
                      <a:pt x="30" y="121"/>
                    </a:lnTo>
                    <a:lnTo>
                      <a:pt x="29" y="120"/>
                    </a:lnTo>
                    <a:lnTo>
                      <a:pt x="27" y="120"/>
                    </a:lnTo>
                    <a:lnTo>
                      <a:pt x="24" y="119"/>
                    </a:lnTo>
                    <a:lnTo>
                      <a:pt x="21" y="119"/>
                    </a:lnTo>
                    <a:lnTo>
                      <a:pt x="18" y="118"/>
                    </a:lnTo>
                    <a:lnTo>
                      <a:pt x="18" y="117"/>
                    </a:lnTo>
                    <a:lnTo>
                      <a:pt x="19" y="116"/>
                    </a:lnTo>
                    <a:lnTo>
                      <a:pt x="19" y="115"/>
                    </a:lnTo>
                    <a:lnTo>
                      <a:pt x="19" y="115"/>
                    </a:lnTo>
                    <a:lnTo>
                      <a:pt x="19" y="114"/>
                    </a:lnTo>
                    <a:lnTo>
                      <a:pt x="19" y="113"/>
                    </a:lnTo>
                    <a:lnTo>
                      <a:pt x="19" y="112"/>
                    </a:lnTo>
                    <a:lnTo>
                      <a:pt x="19" y="112"/>
                    </a:lnTo>
                    <a:lnTo>
                      <a:pt x="19" y="111"/>
                    </a:lnTo>
                    <a:lnTo>
                      <a:pt x="19" y="110"/>
                    </a:lnTo>
                    <a:lnTo>
                      <a:pt x="19" y="109"/>
                    </a:lnTo>
                    <a:lnTo>
                      <a:pt x="18" y="109"/>
                    </a:lnTo>
                    <a:lnTo>
                      <a:pt x="18" y="108"/>
                    </a:lnTo>
                    <a:lnTo>
                      <a:pt x="17" y="108"/>
                    </a:lnTo>
                    <a:lnTo>
                      <a:pt x="17" y="107"/>
                    </a:lnTo>
                    <a:lnTo>
                      <a:pt x="16" y="106"/>
                    </a:lnTo>
                    <a:lnTo>
                      <a:pt x="16" y="106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5" y="105"/>
                    </a:lnTo>
                    <a:lnTo>
                      <a:pt x="15" y="105"/>
                    </a:lnTo>
                    <a:lnTo>
                      <a:pt x="15" y="104"/>
                    </a:lnTo>
                    <a:lnTo>
                      <a:pt x="15" y="103"/>
                    </a:lnTo>
                    <a:lnTo>
                      <a:pt x="15" y="103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3" y="101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99"/>
                    </a:lnTo>
                    <a:lnTo>
                      <a:pt x="12" y="99"/>
                    </a:lnTo>
                    <a:lnTo>
                      <a:pt x="11" y="98"/>
                    </a:lnTo>
                    <a:lnTo>
                      <a:pt x="12" y="98"/>
                    </a:lnTo>
                    <a:lnTo>
                      <a:pt x="12" y="98"/>
                    </a:lnTo>
                    <a:lnTo>
                      <a:pt x="13" y="98"/>
                    </a:lnTo>
                    <a:lnTo>
                      <a:pt x="13" y="97"/>
                    </a:lnTo>
                    <a:lnTo>
                      <a:pt x="14" y="97"/>
                    </a:lnTo>
                    <a:lnTo>
                      <a:pt x="14" y="96"/>
                    </a:lnTo>
                    <a:lnTo>
                      <a:pt x="14" y="96"/>
                    </a:lnTo>
                    <a:lnTo>
                      <a:pt x="14" y="95"/>
                    </a:lnTo>
                    <a:lnTo>
                      <a:pt x="15" y="94"/>
                    </a:lnTo>
                    <a:lnTo>
                      <a:pt x="15" y="94"/>
                    </a:lnTo>
                    <a:lnTo>
                      <a:pt x="15" y="93"/>
                    </a:lnTo>
                    <a:lnTo>
                      <a:pt x="14" y="92"/>
                    </a:lnTo>
                    <a:lnTo>
                      <a:pt x="14" y="90"/>
                    </a:lnTo>
                    <a:lnTo>
                      <a:pt x="14" y="89"/>
                    </a:lnTo>
                    <a:lnTo>
                      <a:pt x="14" y="88"/>
                    </a:lnTo>
                    <a:lnTo>
                      <a:pt x="14" y="87"/>
                    </a:lnTo>
                    <a:lnTo>
                      <a:pt x="15" y="87"/>
                    </a:lnTo>
                    <a:lnTo>
                      <a:pt x="15" y="85"/>
                    </a:lnTo>
                    <a:lnTo>
                      <a:pt x="15" y="84"/>
                    </a:lnTo>
                    <a:lnTo>
                      <a:pt x="16" y="83"/>
                    </a:lnTo>
                    <a:lnTo>
                      <a:pt x="16" y="82"/>
                    </a:lnTo>
                    <a:lnTo>
                      <a:pt x="16" y="81"/>
                    </a:lnTo>
                    <a:lnTo>
                      <a:pt x="17" y="80"/>
                    </a:lnTo>
                    <a:lnTo>
                      <a:pt x="17" y="79"/>
                    </a:lnTo>
                    <a:lnTo>
                      <a:pt x="18" y="78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8" y="73"/>
                    </a:lnTo>
                    <a:lnTo>
                      <a:pt x="18" y="72"/>
                    </a:lnTo>
                    <a:lnTo>
                      <a:pt x="19" y="70"/>
                    </a:lnTo>
                    <a:lnTo>
                      <a:pt x="18" y="68"/>
                    </a:lnTo>
                    <a:lnTo>
                      <a:pt x="18" y="67"/>
                    </a:lnTo>
                    <a:lnTo>
                      <a:pt x="18" y="65"/>
                    </a:lnTo>
                    <a:lnTo>
                      <a:pt x="17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5" y="63"/>
                    </a:lnTo>
                    <a:lnTo>
                      <a:pt x="14" y="62"/>
                    </a:lnTo>
                    <a:lnTo>
                      <a:pt x="14" y="61"/>
                    </a:lnTo>
                    <a:lnTo>
                      <a:pt x="13" y="60"/>
                    </a:lnTo>
                    <a:lnTo>
                      <a:pt x="12" y="59"/>
                    </a:lnTo>
                    <a:lnTo>
                      <a:pt x="12" y="59"/>
                    </a:lnTo>
                    <a:lnTo>
                      <a:pt x="11" y="58"/>
                    </a:lnTo>
                    <a:lnTo>
                      <a:pt x="10" y="58"/>
                    </a:lnTo>
                    <a:lnTo>
                      <a:pt x="9" y="57"/>
                    </a:lnTo>
                    <a:lnTo>
                      <a:pt x="9" y="57"/>
                    </a:lnTo>
                    <a:lnTo>
                      <a:pt x="7" y="57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4"/>
                    </a:lnTo>
                    <a:lnTo>
                      <a:pt x="5" y="53"/>
                    </a:lnTo>
                    <a:lnTo>
                      <a:pt x="5" y="52"/>
                    </a:lnTo>
                    <a:lnTo>
                      <a:pt x="5" y="52"/>
                    </a:lnTo>
                    <a:lnTo>
                      <a:pt x="5" y="51"/>
                    </a:lnTo>
                    <a:lnTo>
                      <a:pt x="4" y="51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3" y="50"/>
                    </a:lnTo>
                    <a:lnTo>
                      <a:pt x="3" y="49"/>
                    </a:lnTo>
                    <a:lnTo>
                      <a:pt x="2" y="49"/>
                    </a:lnTo>
                    <a:lnTo>
                      <a:pt x="1" y="49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7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5"/>
                    </a:lnTo>
                    <a:lnTo>
                      <a:pt x="0" y="44"/>
                    </a:lnTo>
                    <a:lnTo>
                      <a:pt x="1" y="43"/>
                    </a:lnTo>
                    <a:lnTo>
                      <a:pt x="1" y="43"/>
                    </a:lnTo>
                    <a:lnTo>
                      <a:pt x="1" y="42"/>
                    </a:lnTo>
                    <a:lnTo>
                      <a:pt x="2" y="41"/>
                    </a:lnTo>
                    <a:lnTo>
                      <a:pt x="2" y="41"/>
                    </a:lnTo>
                    <a:lnTo>
                      <a:pt x="3" y="40"/>
                    </a:lnTo>
                    <a:lnTo>
                      <a:pt x="3" y="39"/>
                    </a:lnTo>
                    <a:lnTo>
                      <a:pt x="3" y="39"/>
                    </a:lnTo>
                    <a:lnTo>
                      <a:pt x="3" y="38"/>
                    </a:lnTo>
                    <a:lnTo>
                      <a:pt x="3" y="38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5"/>
                    </a:lnTo>
                    <a:lnTo>
                      <a:pt x="1" y="35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4" y="33"/>
                    </a:lnTo>
                    <a:lnTo>
                      <a:pt x="4" y="32"/>
                    </a:lnTo>
                    <a:lnTo>
                      <a:pt x="5" y="32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7" y="31"/>
                    </a:lnTo>
                    <a:lnTo>
                      <a:pt x="8" y="30"/>
                    </a:lnTo>
                    <a:lnTo>
                      <a:pt x="9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1" y="30"/>
                    </a:lnTo>
                    <a:lnTo>
                      <a:pt x="12" y="30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4" y="31"/>
                    </a:lnTo>
                    <a:lnTo>
                      <a:pt x="14" y="32"/>
                    </a:lnTo>
                    <a:lnTo>
                      <a:pt x="15" y="32"/>
                    </a:lnTo>
                    <a:lnTo>
                      <a:pt x="16" y="33"/>
                    </a:lnTo>
                    <a:lnTo>
                      <a:pt x="16" y="33"/>
                    </a:lnTo>
                    <a:lnTo>
                      <a:pt x="17" y="32"/>
                    </a:lnTo>
                    <a:lnTo>
                      <a:pt x="17" y="31"/>
                    </a:lnTo>
                    <a:lnTo>
                      <a:pt x="17" y="31"/>
                    </a:lnTo>
                    <a:lnTo>
                      <a:pt x="18" y="30"/>
                    </a:lnTo>
                    <a:lnTo>
                      <a:pt x="18" y="29"/>
                    </a:lnTo>
                    <a:lnTo>
                      <a:pt x="19" y="29"/>
                    </a:lnTo>
                    <a:lnTo>
                      <a:pt x="20" y="28"/>
                    </a:lnTo>
                    <a:lnTo>
                      <a:pt x="20" y="27"/>
                    </a:lnTo>
                    <a:lnTo>
                      <a:pt x="21" y="26"/>
                    </a:lnTo>
                    <a:lnTo>
                      <a:pt x="23" y="25"/>
                    </a:lnTo>
                    <a:lnTo>
                      <a:pt x="24" y="24"/>
                    </a:lnTo>
                    <a:lnTo>
                      <a:pt x="26" y="24"/>
                    </a:lnTo>
                    <a:lnTo>
                      <a:pt x="27" y="23"/>
                    </a:lnTo>
                    <a:lnTo>
                      <a:pt x="29" y="22"/>
                    </a:lnTo>
                    <a:lnTo>
                      <a:pt x="30" y="21"/>
                    </a:lnTo>
                    <a:lnTo>
                      <a:pt x="32" y="20"/>
                    </a:lnTo>
                    <a:lnTo>
                      <a:pt x="32" y="19"/>
                    </a:lnTo>
                    <a:lnTo>
                      <a:pt x="33" y="19"/>
                    </a:lnTo>
                    <a:lnTo>
                      <a:pt x="33" y="18"/>
                    </a:lnTo>
                    <a:lnTo>
                      <a:pt x="34" y="17"/>
                    </a:lnTo>
                    <a:lnTo>
                      <a:pt x="34" y="16"/>
                    </a:lnTo>
                    <a:lnTo>
                      <a:pt x="34" y="15"/>
                    </a:lnTo>
                    <a:lnTo>
                      <a:pt x="35" y="14"/>
                    </a:lnTo>
                    <a:lnTo>
                      <a:pt x="35" y="13"/>
                    </a:lnTo>
                    <a:lnTo>
                      <a:pt x="36" y="13"/>
                    </a:lnTo>
                    <a:lnTo>
                      <a:pt x="37" y="13"/>
                    </a:lnTo>
                    <a:lnTo>
                      <a:pt x="38" y="13"/>
                    </a:lnTo>
                    <a:lnTo>
                      <a:pt x="40" y="12"/>
                    </a:lnTo>
                    <a:lnTo>
                      <a:pt x="41" y="12"/>
                    </a:lnTo>
                    <a:lnTo>
                      <a:pt x="42" y="11"/>
                    </a:lnTo>
                    <a:lnTo>
                      <a:pt x="43" y="11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5" y="9"/>
                    </a:lnTo>
                    <a:lnTo>
                      <a:pt x="46" y="8"/>
                    </a:lnTo>
                    <a:lnTo>
                      <a:pt x="46" y="7"/>
                    </a:lnTo>
                    <a:lnTo>
                      <a:pt x="47" y="6"/>
                    </a:lnTo>
                    <a:lnTo>
                      <a:pt x="47" y="5"/>
                    </a:lnTo>
                    <a:lnTo>
                      <a:pt x="48" y="4"/>
                    </a:lnTo>
                    <a:lnTo>
                      <a:pt x="48" y="3"/>
                    </a:lnTo>
                    <a:lnTo>
                      <a:pt x="49" y="3"/>
                    </a:lnTo>
                    <a:lnTo>
                      <a:pt x="50" y="3"/>
                    </a:lnTo>
                    <a:lnTo>
                      <a:pt x="51" y="3"/>
                    </a:lnTo>
                    <a:lnTo>
                      <a:pt x="52" y="3"/>
                    </a:lnTo>
                    <a:lnTo>
                      <a:pt x="53" y="3"/>
                    </a:lnTo>
                    <a:lnTo>
                      <a:pt x="54" y="3"/>
                    </a:lnTo>
                    <a:lnTo>
                      <a:pt x="55" y="2"/>
                    </a:lnTo>
                    <a:lnTo>
                      <a:pt x="55" y="2"/>
                    </a:lnTo>
                    <a:lnTo>
                      <a:pt x="57" y="1"/>
                    </a:lnTo>
                    <a:lnTo>
                      <a:pt x="57" y="1"/>
                    </a:lnTo>
                    <a:lnTo>
                      <a:pt x="58" y="1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60" y="0"/>
                    </a:lnTo>
                    <a:lnTo>
                      <a:pt x="61" y="0"/>
                    </a:lnTo>
                    <a:lnTo>
                      <a:pt x="61" y="2"/>
                    </a:lnTo>
                    <a:lnTo>
                      <a:pt x="61" y="3"/>
                    </a:lnTo>
                    <a:lnTo>
                      <a:pt x="61" y="4"/>
                    </a:lnTo>
                    <a:lnTo>
                      <a:pt x="61" y="5"/>
                    </a:lnTo>
                    <a:lnTo>
                      <a:pt x="61" y="6"/>
                    </a:lnTo>
                    <a:lnTo>
                      <a:pt x="61" y="7"/>
                    </a:lnTo>
                    <a:lnTo>
                      <a:pt x="61" y="8"/>
                    </a:lnTo>
                    <a:lnTo>
                      <a:pt x="60" y="8"/>
                    </a:lnTo>
                    <a:lnTo>
                      <a:pt x="60" y="9"/>
                    </a:lnTo>
                    <a:lnTo>
                      <a:pt x="59" y="9"/>
                    </a:lnTo>
                    <a:lnTo>
                      <a:pt x="59" y="10"/>
                    </a:lnTo>
                    <a:lnTo>
                      <a:pt x="58" y="10"/>
                    </a:lnTo>
                    <a:lnTo>
                      <a:pt x="57" y="10"/>
                    </a:lnTo>
                    <a:lnTo>
                      <a:pt x="56" y="10"/>
                    </a:lnTo>
                    <a:lnTo>
                      <a:pt x="55" y="10"/>
                    </a:lnTo>
                    <a:lnTo>
                      <a:pt x="55" y="10"/>
                    </a:lnTo>
                    <a:lnTo>
                      <a:pt x="55" y="11"/>
                    </a:lnTo>
                    <a:lnTo>
                      <a:pt x="55" y="12"/>
                    </a:lnTo>
                    <a:lnTo>
                      <a:pt x="55" y="13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7" y="15"/>
                    </a:lnTo>
                    <a:lnTo>
                      <a:pt x="58" y="16"/>
                    </a:lnTo>
                    <a:lnTo>
                      <a:pt x="58" y="16"/>
                    </a:lnTo>
                    <a:lnTo>
                      <a:pt x="59" y="17"/>
                    </a:lnTo>
                    <a:lnTo>
                      <a:pt x="60" y="17"/>
                    </a:lnTo>
                    <a:lnTo>
                      <a:pt x="61" y="18"/>
                    </a:lnTo>
                    <a:lnTo>
                      <a:pt x="63" y="19"/>
                    </a:lnTo>
                    <a:lnTo>
                      <a:pt x="65" y="20"/>
                    </a:lnTo>
                    <a:lnTo>
                      <a:pt x="66" y="20"/>
                    </a:lnTo>
                    <a:lnTo>
                      <a:pt x="66" y="21"/>
                    </a:lnTo>
                    <a:lnTo>
                      <a:pt x="68" y="21"/>
                    </a:lnTo>
                    <a:lnTo>
                      <a:pt x="70" y="22"/>
                    </a:lnTo>
                    <a:lnTo>
                      <a:pt x="71" y="23"/>
                    </a:lnTo>
                    <a:lnTo>
                      <a:pt x="72" y="24"/>
                    </a:lnTo>
                    <a:lnTo>
                      <a:pt x="73" y="25"/>
                    </a:lnTo>
                    <a:lnTo>
                      <a:pt x="74" y="25"/>
                    </a:lnTo>
                    <a:lnTo>
                      <a:pt x="75" y="26"/>
                    </a:lnTo>
                    <a:lnTo>
                      <a:pt x="76" y="26"/>
                    </a:lnTo>
                    <a:lnTo>
                      <a:pt x="77" y="26"/>
                    </a:lnTo>
                    <a:lnTo>
                      <a:pt x="78" y="26"/>
                    </a:lnTo>
                    <a:lnTo>
                      <a:pt x="82" y="31"/>
                    </a:lnTo>
                    <a:lnTo>
                      <a:pt x="86" y="35"/>
                    </a:lnTo>
                    <a:lnTo>
                      <a:pt x="90" y="40"/>
                    </a:lnTo>
                    <a:lnTo>
                      <a:pt x="93" y="44"/>
                    </a:lnTo>
                    <a:lnTo>
                      <a:pt x="97" y="49"/>
                    </a:lnTo>
                    <a:lnTo>
                      <a:pt x="101" y="54"/>
                    </a:lnTo>
                    <a:lnTo>
                      <a:pt x="104" y="58"/>
                    </a:lnTo>
                    <a:lnTo>
                      <a:pt x="108" y="63"/>
                    </a:lnTo>
                    <a:lnTo>
                      <a:pt x="115" y="73"/>
                    </a:lnTo>
                    <a:lnTo>
                      <a:pt x="116" y="77"/>
                    </a:ln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7" name="Freeform 15"/>
              <p:cNvSpPr>
                <a:spLocks/>
              </p:cNvSpPr>
              <p:nvPr/>
            </p:nvSpPr>
            <p:spPr bwMode="auto">
              <a:xfrm>
                <a:off x="4260392" y="1341312"/>
                <a:ext cx="1383421" cy="963991"/>
              </a:xfrm>
              <a:custGeom>
                <a:avLst/>
                <a:gdLst/>
                <a:ahLst/>
                <a:cxnLst>
                  <a:cxn ang="0">
                    <a:pos x="134" y="44"/>
                  </a:cxn>
                  <a:cxn ang="0">
                    <a:pos x="132" y="48"/>
                  </a:cxn>
                  <a:cxn ang="0">
                    <a:pos x="131" y="53"/>
                  </a:cxn>
                  <a:cxn ang="0">
                    <a:pos x="136" y="54"/>
                  </a:cxn>
                  <a:cxn ang="0">
                    <a:pos x="135" y="60"/>
                  </a:cxn>
                  <a:cxn ang="0">
                    <a:pos x="137" y="67"/>
                  </a:cxn>
                  <a:cxn ang="0">
                    <a:pos x="139" y="74"/>
                  </a:cxn>
                  <a:cxn ang="0">
                    <a:pos x="128" y="71"/>
                  </a:cxn>
                  <a:cxn ang="0">
                    <a:pos x="123" y="67"/>
                  </a:cxn>
                  <a:cxn ang="0">
                    <a:pos x="114" y="68"/>
                  </a:cxn>
                  <a:cxn ang="0">
                    <a:pos x="106" y="65"/>
                  </a:cxn>
                  <a:cxn ang="0">
                    <a:pos x="94" y="59"/>
                  </a:cxn>
                  <a:cxn ang="0">
                    <a:pos x="76" y="56"/>
                  </a:cxn>
                  <a:cxn ang="0">
                    <a:pos x="65" y="49"/>
                  </a:cxn>
                  <a:cxn ang="0">
                    <a:pos x="59" y="51"/>
                  </a:cxn>
                  <a:cxn ang="0">
                    <a:pos x="44" y="54"/>
                  </a:cxn>
                  <a:cxn ang="0">
                    <a:pos x="41" y="60"/>
                  </a:cxn>
                  <a:cxn ang="0">
                    <a:pos x="42" y="65"/>
                  </a:cxn>
                  <a:cxn ang="0">
                    <a:pos x="45" y="73"/>
                  </a:cxn>
                  <a:cxn ang="0">
                    <a:pos x="31" y="85"/>
                  </a:cxn>
                  <a:cxn ang="0">
                    <a:pos x="23" y="85"/>
                  </a:cxn>
                  <a:cxn ang="0">
                    <a:pos x="14" y="89"/>
                  </a:cxn>
                  <a:cxn ang="0">
                    <a:pos x="2" y="89"/>
                  </a:cxn>
                  <a:cxn ang="0">
                    <a:pos x="1" y="72"/>
                  </a:cxn>
                  <a:cxn ang="0">
                    <a:pos x="7" y="68"/>
                  </a:cxn>
                  <a:cxn ang="0">
                    <a:pos x="7" y="59"/>
                  </a:cxn>
                  <a:cxn ang="0">
                    <a:pos x="6" y="55"/>
                  </a:cxn>
                  <a:cxn ang="0">
                    <a:pos x="6" y="50"/>
                  </a:cxn>
                  <a:cxn ang="0">
                    <a:pos x="5" y="44"/>
                  </a:cxn>
                  <a:cxn ang="0">
                    <a:pos x="7" y="39"/>
                  </a:cxn>
                  <a:cxn ang="0">
                    <a:pos x="5" y="29"/>
                  </a:cxn>
                  <a:cxn ang="0">
                    <a:pos x="10" y="23"/>
                  </a:cxn>
                  <a:cxn ang="0">
                    <a:pos x="15" y="21"/>
                  </a:cxn>
                  <a:cxn ang="0">
                    <a:pos x="20" y="18"/>
                  </a:cxn>
                  <a:cxn ang="0">
                    <a:pos x="24" y="17"/>
                  </a:cxn>
                  <a:cxn ang="0">
                    <a:pos x="30" y="15"/>
                  </a:cxn>
                  <a:cxn ang="0">
                    <a:pos x="37" y="13"/>
                  </a:cxn>
                  <a:cxn ang="0">
                    <a:pos x="42" y="8"/>
                  </a:cxn>
                  <a:cxn ang="0">
                    <a:pos x="48" y="3"/>
                  </a:cxn>
                  <a:cxn ang="0">
                    <a:pos x="53" y="0"/>
                  </a:cxn>
                  <a:cxn ang="0">
                    <a:pos x="57" y="1"/>
                  </a:cxn>
                  <a:cxn ang="0">
                    <a:pos x="62" y="3"/>
                  </a:cxn>
                  <a:cxn ang="0">
                    <a:pos x="70" y="6"/>
                  </a:cxn>
                  <a:cxn ang="0">
                    <a:pos x="73" y="7"/>
                  </a:cxn>
                  <a:cxn ang="0">
                    <a:pos x="78" y="3"/>
                  </a:cxn>
                  <a:cxn ang="0">
                    <a:pos x="82" y="1"/>
                  </a:cxn>
                  <a:cxn ang="0">
                    <a:pos x="85" y="5"/>
                  </a:cxn>
                  <a:cxn ang="0">
                    <a:pos x="86" y="12"/>
                  </a:cxn>
                  <a:cxn ang="0">
                    <a:pos x="89" y="19"/>
                  </a:cxn>
                  <a:cxn ang="0">
                    <a:pos x="88" y="30"/>
                  </a:cxn>
                  <a:cxn ang="0">
                    <a:pos x="92" y="37"/>
                  </a:cxn>
                  <a:cxn ang="0">
                    <a:pos x="103" y="36"/>
                  </a:cxn>
                  <a:cxn ang="0">
                    <a:pos x="107" y="33"/>
                  </a:cxn>
                  <a:cxn ang="0">
                    <a:pos x="110" y="31"/>
                  </a:cxn>
                  <a:cxn ang="0">
                    <a:pos x="114" y="41"/>
                  </a:cxn>
                  <a:cxn ang="0">
                    <a:pos x="119" y="42"/>
                  </a:cxn>
                  <a:cxn ang="0">
                    <a:pos x="121" y="38"/>
                  </a:cxn>
                  <a:cxn ang="0">
                    <a:pos x="127" y="38"/>
                  </a:cxn>
                  <a:cxn ang="0">
                    <a:pos x="131" y="41"/>
                  </a:cxn>
                  <a:cxn ang="0">
                    <a:pos x="135" y="40"/>
                  </a:cxn>
                  <a:cxn ang="0">
                    <a:pos x="139" y="39"/>
                  </a:cxn>
                </a:cxnLst>
                <a:rect l="0" t="0" r="r" b="b"/>
                <a:pathLst>
                  <a:path w="139" h="90">
                    <a:moveTo>
                      <a:pt x="139" y="40"/>
                    </a:moveTo>
                    <a:lnTo>
                      <a:pt x="139" y="40"/>
                    </a:lnTo>
                    <a:lnTo>
                      <a:pt x="139" y="40"/>
                    </a:lnTo>
                    <a:lnTo>
                      <a:pt x="139" y="41"/>
                    </a:lnTo>
                    <a:lnTo>
                      <a:pt x="139" y="41"/>
                    </a:lnTo>
                    <a:lnTo>
                      <a:pt x="138" y="41"/>
                    </a:lnTo>
                    <a:lnTo>
                      <a:pt x="137" y="41"/>
                    </a:lnTo>
                    <a:lnTo>
                      <a:pt x="136" y="42"/>
                    </a:lnTo>
                    <a:lnTo>
                      <a:pt x="135" y="42"/>
                    </a:lnTo>
                    <a:lnTo>
                      <a:pt x="135" y="43"/>
                    </a:lnTo>
                    <a:lnTo>
                      <a:pt x="134" y="43"/>
                    </a:lnTo>
                    <a:lnTo>
                      <a:pt x="134" y="44"/>
                    </a:lnTo>
                    <a:lnTo>
                      <a:pt x="134" y="44"/>
                    </a:lnTo>
                    <a:lnTo>
                      <a:pt x="133" y="44"/>
                    </a:lnTo>
                    <a:lnTo>
                      <a:pt x="133" y="44"/>
                    </a:lnTo>
                    <a:lnTo>
                      <a:pt x="133" y="45"/>
                    </a:lnTo>
                    <a:lnTo>
                      <a:pt x="132" y="45"/>
                    </a:lnTo>
                    <a:lnTo>
                      <a:pt x="132" y="45"/>
                    </a:lnTo>
                    <a:lnTo>
                      <a:pt x="132" y="46"/>
                    </a:lnTo>
                    <a:lnTo>
                      <a:pt x="132" y="46"/>
                    </a:lnTo>
                    <a:lnTo>
                      <a:pt x="132" y="47"/>
                    </a:lnTo>
                    <a:lnTo>
                      <a:pt x="132" y="47"/>
                    </a:lnTo>
                    <a:lnTo>
                      <a:pt x="132" y="48"/>
                    </a:lnTo>
                    <a:lnTo>
                      <a:pt x="132" y="48"/>
                    </a:lnTo>
                    <a:lnTo>
                      <a:pt x="132" y="48"/>
                    </a:lnTo>
                    <a:lnTo>
                      <a:pt x="131" y="48"/>
                    </a:lnTo>
                    <a:lnTo>
                      <a:pt x="131" y="48"/>
                    </a:lnTo>
                    <a:lnTo>
                      <a:pt x="131" y="48"/>
                    </a:lnTo>
                    <a:lnTo>
                      <a:pt x="131" y="49"/>
                    </a:lnTo>
                    <a:lnTo>
                      <a:pt x="130" y="49"/>
                    </a:lnTo>
                    <a:lnTo>
                      <a:pt x="130" y="50"/>
                    </a:lnTo>
                    <a:lnTo>
                      <a:pt x="130" y="50"/>
                    </a:lnTo>
                    <a:lnTo>
                      <a:pt x="131" y="51"/>
                    </a:lnTo>
                    <a:lnTo>
                      <a:pt x="131" y="52"/>
                    </a:lnTo>
                    <a:lnTo>
                      <a:pt x="131" y="52"/>
                    </a:lnTo>
                    <a:lnTo>
                      <a:pt x="131" y="53"/>
                    </a:lnTo>
                    <a:lnTo>
                      <a:pt x="132" y="53"/>
                    </a:lnTo>
                    <a:lnTo>
                      <a:pt x="132" y="53"/>
                    </a:lnTo>
                    <a:lnTo>
                      <a:pt x="132" y="53"/>
                    </a:lnTo>
                    <a:lnTo>
                      <a:pt x="133" y="53"/>
                    </a:lnTo>
                    <a:lnTo>
                      <a:pt x="133" y="53"/>
                    </a:lnTo>
                    <a:lnTo>
                      <a:pt x="134" y="53"/>
                    </a:lnTo>
                    <a:lnTo>
                      <a:pt x="134" y="53"/>
                    </a:lnTo>
                    <a:lnTo>
                      <a:pt x="135" y="53"/>
                    </a:lnTo>
                    <a:lnTo>
                      <a:pt x="135" y="53"/>
                    </a:lnTo>
                    <a:lnTo>
                      <a:pt x="135" y="53"/>
                    </a:lnTo>
                    <a:lnTo>
                      <a:pt x="136" y="53"/>
                    </a:lnTo>
                    <a:lnTo>
                      <a:pt x="136" y="54"/>
                    </a:lnTo>
                    <a:lnTo>
                      <a:pt x="136" y="54"/>
                    </a:lnTo>
                    <a:lnTo>
                      <a:pt x="137" y="55"/>
                    </a:lnTo>
                    <a:lnTo>
                      <a:pt x="137" y="55"/>
                    </a:lnTo>
                    <a:lnTo>
                      <a:pt x="137" y="55"/>
                    </a:lnTo>
                    <a:lnTo>
                      <a:pt x="137" y="56"/>
                    </a:lnTo>
                    <a:lnTo>
                      <a:pt x="137" y="56"/>
                    </a:lnTo>
                    <a:lnTo>
                      <a:pt x="137" y="57"/>
                    </a:lnTo>
                    <a:lnTo>
                      <a:pt x="137" y="57"/>
                    </a:lnTo>
                    <a:lnTo>
                      <a:pt x="137" y="58"/>
                    </a:lnTo>
                    <a:lnTo>
                      <a:pt x="136" y="59"/>
                    </a:lnTo>
                    <a:lnTo>
                      <a:pt x="136" y="59"/>
                    </a:lnTo>
                    <a:lnTo>
                      <a:pt x="135" y="60"/>
                    </a:lnTo>
                    <a:lnTo>
                      <a:pt x="135" y="61"/>
                    </a:lnTo>
                    <a:lnTo>
                      <a:pt x="135" y="61"/>
                    </a:lnTo>
                    <a:lnTo>
                      <a:pt x="134" y="62"/>
                    </a:lnTo>
                    <a:lnTo>
                      <a:pt x="134" y="63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4" y="65"/>
                    </a:lnTo>
                    <a:lnTo>
                      <a:pt x="134" y="66"/>
                    </a:lnTo>
                    <a:lnTo>
                      <a:pt x="134" y="66"/>
                    </a:lnTo>
                    <a:lnTo>
                      <a:pt x="135" y="67"/>
                    </a:lnTo>
                    <a:lnTo>
                      <a:pt x="136" y="67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38" y="68"/>
                    </a:lnTo>
                    <a:lnTo>
                      <a:pt x="138" y="68"/>
                    </a:lnTo>
                    <a:lnTo>
                      <a:pt x="138" y="69"/>
                    </a:lnTo>
                    <a:lnTo>
                      <a:pt x="139" y="69"/>
                    </a:lnTo>
                    <a:lnTo>
                      <a:pt x="139" y="70"/>
                    </a:lnTo>
                    <a:lnTo>
                      <a:pt x="139" y="70"/>
                    </a:lnTo>
                    <a:lnTo>
                      <a:pt x="139" y="71"/>
                    </a:lnTo>
                    <a:lnTo>
                      <a:pt x="139" y="72"/>
                    </a:lnTo>
                    <a:lnTo>
                      <a:pt x="139" y="73"/>
                    </a:lnTo>
                    <a:lnTo>
                      <a:pt x="139" y="73"/>
                    </a:lnTo>
                    <a:lnTo>
                      <a:pt x="139" y="74"/>
                    </a:lnTo>
                    <a:lnTo>
                      <a:pt x="139" y="74"/>
                    </a:lnTo>
                    <a:lnTo>
                      <a:pt x="139" y="74"/>
                    </a:lnTo>
                    <a:lnTo>
                      <a:pt x="137" y="75"/>
                    </a:lnTo>
                    <a:lnTo>
                      <a:pt x="136" y="75"/>
                    </a:lnTo>
                    <a:lnTo>
                      <a:pt x="135" y="75"/>
                    </a:lnTo>
                    <a:lnTo>
                      <a:pt x="134" y="74"/>
                    </a:lnTo>
                    <a:lnTo>
                      <a:pt x="133" y="74"/>
                    </a:lnTo>
                    <a:lnTo>
                      <a:pt x="132" y="74"/>
                    </a:lnTo>
                    <a:lnTo>
                      <a:pt x="131" y="73"/>
                    </a:lnTo>
                    <a:lnTo>
                      <a:pt x="130" y="73"/>
                    </a:lnTo>
                    <a:lnTo>
                      <a:pt x="129" y="72"/>
                    </a:lnTo>
                    <a:lnTo>
                      <a:pt x="128" y="71"/>
                    </a:lnTo>
                    <a:lnTo>
                      <a:pt x="127" y="70"/>
                    </a:lnTo>
                    <a:lnTo>
                      <a:pt x="125" y="69"/>
                    </a:lnTo>
                    <a:lnTo>
                      <a:pt x="125" y="68"/>
                    </a:lnTo>
                    <a:lnTo>
                      <a:pt x="124" y="68"/>
                    </a:lnTo>
                    <a:lnTo>
                      <a:pt x="124" y="67"/>
                    </a:lnTo>
                    <a:lnTo>
                      <a:pt x="124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2" y="67"/>
                    </a:lnTo>
                    <a:lnTo>
                      <a:pt x="122" y="67"/>
                    </a:lnTo>
                    <a:lnTo>
                      <a:pt x="122" y="68"/>
                    </a:lnTo>
                    <a:lnTo>
                      <a:pt x="120" y="68"/>
                    </a:lnTo>
                    <a:lnTo>
                      <a:pt x="119" y="68"/>
                    </a:lnTo>
                    <a:lnTo>
                      <a:pt x="117" y="68"/>
                    </a:lnTo>
                    <a:lnTo>
                      <a:pt x="115" y="68"/>
                    </a:lnTo>
                    <a:lnTo>
                      <a:pt x="115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9"/>
                    </a:lnTo>
                    <a:lnTo>
                      <a:pt x="114" y="70"/>
                    </a:lnTo>
                    <a:lnTo>
                      <a:pt x="112" y="70"/>
                    </a:lnTo>
                    <a:lnTo>
                      <a:pt x="110" y="70"/>
                    </a:lnTo>
                    <a:lnTo>
                      <a:pt x="109" y="70"/>
                    </a:lnTo>
                    <a:lnTo>
                      <a:pt x="107" y="70"/>
                    </a:lnTo>
                    <a:lnTo>
                      <a:pt x="107" y="68"/>
                    </a:lnTo>
                    <a:lnTo>
                      <a:pt x="107" y="67"/>
                    </a:lnTo>
                    <a:lnTo>
                      <a:pt x="107" y="66"/>
                    </a:lnTo>
                    <a:lnTo>
                      <a:pt x="106" y="65"/>
                    </a:lnTo>
                    <a:lnTo>
                      <a:pt x="106" y="65"/>
                    </a:lnTo>
                    <a:lnTo>
                      <a:pt x="105" y="64"/>
                    </a:lnTo>
                    <a:lnTo>
                      <a:pt x="105" y="63"/>
                    </a:lnTo>
                    <a:lnTo>
                      <a:pt x="104" y="63"/>
                    </a:lnTo>
                    <a:lnTo>
                      <a:pt x="104" y="62"/>
                    </a:lnTo>
                    <a:lnTo>
                      <a:pt x="103" y="62"/>
                    </a:lnTo>
                    <a:lnTo>
                      <a:pt x="102" y="61"/>
                    </a:lnTo>
                    <a:lnTo>
                      <a:pt x="101" y="61"/>
                    </a:lnTo>
                    <a:lnTo>
                      <a:pt x="101" y="60"/>
                    </a:lnTo>
                    <a:lnTo>
                      <a:pt x="100" y="60"/>
                    </a:lnTo>
                    <a:lnTo>
                      <a:pt x="98" y="60"/>
                    </a:lnTo>
                    <a:lnTo>
                      <a:pt x="96" y="59"/>
                    </a:lnTo>
                    <a:lnTo>
                      <a:pt x="94" y="59"/>
                    </a:lnTo>
                    <a:lnTo>
                      <a:pt x="92" y="59"/>
                    </a:lnTo>
                    <a:lnTo>
                      <a:pt x="89" y="59"/>
                    </a:lnTo>
                    <a:lnTo>
                      <a:pt x="85" y="58"/>
                    </a:lnTo>
                    <a:lnTo>
                      <a:pt x="83" y="58"/>
                    </a:lnTo>
                    <a:lnTo>
                      <a:pt x="80" y="58"/>
                    </a:lnTo>
                    <a:lnTo>
                      <a:pt x="80" y="58"/>
                    </a:lnTo>
                    <a:lnTo>
                      <a:pt x="80" y="58"/>
                    </a:lnTo>
                    <a:lnTo>
                      <a:pt x="79" y="58"/>
                    </a:lnTo>
                    <a:lnTo>
                      <a:pt x="79" y="58"/>
                    </a:lnTo>
                    <a:lnTo>
                      <a:pt x="78" y="57"/>
                    </a:lnTo>
                    <a:lnTo>
                      <a:pt x="77" y="57"/>
                    </a:lnTo>
                    <a:lnTo>
                      <a:pt x="76" y="56"/>
                    </a:lnTo>
                    <a:lnTo>
                      <a:pt x="75" y="55"/>
                    </a:lnTo>
                    <a:lnTo>
                      <a:pt x="74" y="55"/>
                    </a:lnTo>
                    <a:lnTo>
                      <a:pt x="73" y="54"/>
                    </a:lnTo>
                    <a:lnTo>
                      <a:pt x="72" y="53"/>
                    </a:lnTo>
                    <a:lnTo>
                      <a:pt x="72" y="52"/>
                    </a:lnTo>
                    <a:lnTo>
                      <a:pt x="71" y="52"/>
                    </a:lnTo>
                    <a:lnTo>
                      <a:pt x="70" y="51"/>
                    </a:lnTo>
                    <a:lnTo>
                      <a:pt x="69" y="50"/>
                    </a:lnTo>
                    <a:lnTo>
                      <a:pt x="68" y="50"/>
                    </a:lnTo>
                    <a:lnTo>
                      <a:pt x="67" y="50"/>
                    </a:lnTo>
                    <a:lnTo>
                      <a:pt x="66" y="49"/>
                    </a:lnTo>
                    <a:lnTo>
                      <a:pt x="65" y="49"/>
                    </a:lnTo>
                    <a:lnTo>
                      <a:pt x="65" y="49"/>
                    </a:lnTo>
                    <a:lnTo>
                      <a:pt x="64" y="49"/>
                    </a:lnTo>
                    <a:lnTo>
                      <a:pt x="63" y="49"/>
                    </a:lnTo>
                    <a:lnTo>
                      <a:pt x="62" y="50"/>
                    </a:lnTo>
                    <a:lnTo>
                      <a:pt x="62" y="49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0" y="51"/>
                    </a:lnTo>
                    <a:lnTo>
                      <a:pt x="60" y="51"/>
                    </a:lnTo>
                    <a:lnTo>
                      <a:pt x="59" y="51"/>
                    </a:lnTo>
                    <a:lnTo>
                      <a:pt x="57" y="51"/>
                    </a:lnTo>
                    <a:lnTo>
                      <a:pt x="56" y="51"/>
                    </a:lnTo>
                    <a:lnTo>
                      <a:pt x="54" y="51"/>
                    </a:lnTo>
                    <a:lnTo>
                      <a:pt x="53" y="51"/>
                    </a:lnTo>
                    <a:lnTo>
                      <a:pt x="52" y="51"/>
                    </a:lnTo>
                    <a:lnTo>
                      <a:pt x="50" y="51"/>
                    </a:lnTo>
                    <a:lnTo>
                      <a:pt x="49" y="52"/>
                    </a:lnTo>
                    <a:lnTo>
                      <a:pt x="48" y="52"/>
                    </a:lnTo>
                    <a:lnTo>
                      <a:pt x="47" y="52"/>
                    </a:lnTo>
                    <a:lnTo>
                      <a:pt x="46" y="53"/>
                    </a:lnTo>
                    <a:lnTo>
                      <a:pt x="45" y="53"/>
                    </a:lnTo>
                    <a:lnTo>
                      <a:pt x="44" y="54"/>
                    </a:lnTo>
                    <a:lnTo>
                      <a:pt x="44" y="55"/>
                    </a:lnTo>
                    <a:lnTo>
                      <a:pt x="43" y="55"/>
                    </a:lnTo>
                    <a:lnTo>
                      <a:pt x="42" y="56"/>
                    </a:lnTo>
                    <a:lnTo>
                      <a:pt x="42" y="57"/>
                    </a:lnTo>
                    <a:lnTo>
                      <a:pt x="42" y="58"/>
                    </a:lnTo>
                    <a:lnTo>
                      <a:pt x="42" y="59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1"/>
                    </a:lnTo>
                    <a:lnTo>
                      <a:pt x="41" y="61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42" y="62"/>
                    </a:lnTo>
                    <a:lnTo>
                      <a:pt x="42" y="62"/>
                    </a:lnTo>
                    <a:lnTo>
                      <a:pt x="42" y="63"/>
                    </a:lnTo>
                    <a:lnTo>
                      <a:pt x="42" y="64"/>
                    </a:lnTo>
                    <a:lnTo>
                      <a:pt x="42" y="65"/>
                    </a:lnTo>
                    <a:lnTo>
                      <a:pt x="42" y="66"/>
                    </a:lnTo>
                    <a:lnTo>
                      <a:pt x="42" y="67"/>
                    </a:lnTo>
                    <a:lnTo>
                      <a:pt x="43" y="67"/>
                    </a:lnTo>
                    <a:lnTo>
                      <a:pt x="43" y="68"/>
                    </a:lnTo>
                    <a:lnTo>
                      <a:pt x="44" y="69"/>
                    </a:lnTo>
                    <a:lnTo>
                      <a:pt x="44" y="69"/>
                    </a:lnTo>
                    <a:lnTo>
                      <a:pt x="45" y="70"/>
                    </a:lnTo>
                    <a:lnTo>
                      <a:pt x="45" y="71"/>
                    </a:lnTo>
                    <a:lnTo>
                      <a:pt x="45" y="71"/>
                    </a:lnTo>
                    <a:lnTo>
                      <a:pt x="45" y="72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5" y="74"/>
                    </a:lnTo>
                    <a:lnTo>
                      <a:pt x="45" y="74"/>
                    </a:lnTo>
                    <a:lnTo>
                      <a:pt x="45" y="74"/>
                    </a:lnTo>
                    <a:lnTo>
                      <a:pt x="43" y="76"/>
                    </a:lnTo>
                    <a:lnTo>
                      <a:pt x="41" y="78"/>
                    </a:lnTo>
                    <a:lnTo>
                      <a:pt x="39" y="80"/>
                    </a:lnTo>
                    <a:lnTo>
                      <a:pt x="37" y="81"/>
                    </a:lnTo>
                    <a:lnTo>
                      <a:pt x="36" y="82"/>
                    </a:lnTo>
                    <a:lnTo>
                      <a:pt x="35" y="83"/>
                    </a:lnTo>
                    <a:lnTo>
                      <a:pt x="34" y="83"/>
                    </a:lnTo>
                    <a:lnTo>
                      <a:pt x="32" y="84"/>
                    </a:lnTo>
                    <a:lnTo>
                      <a:pt x="31" y="85"/>
                    </a:lnTo>
                    <a:lnTo>
                      <a:pt x="29" y="85"/>
                    </a:lnTo>
                    <a:lnTo>
                      <a:pt x="27" y="85"/>
                    </a:lnTo>
                    <a:lnTo>
                      <a:pt x="26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85"/>
                    </a:lnTo>
                    <a:lnTo>
                      <a:pt x="24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2" y="85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1" y="86"/>
                    </a:lnTo>
                    <a:lnTo>
                      <a:pt x="21" y="87"/>
                    </a:lnTo>
                    <a:lnTo>
                      <a:pt x="19" y="87"/>
                    </a:lnTo>
                    <a:lnTo>
                      <a:pt x="18" y="88"/>
                    </a:lnTo>
                    <a:lnTo>
                      <a:pt x="17" y="88"/>
                    </a:lnTo>
                    <a:lnTo>
                      <a:pt x="16" y="89"/>
                    </a:lnTo>
                    <a:lnTo>
                      <a:pt x="15" y="89"/>
                    </a:lnTo>
                    <a:lnTo>
                      <a:pt x="14" y="89"/>
                    </a:lnTo>
                    <a:lnTo>
                      <a:pt x="13" y="90"/>
                    </a:lnTo>
                    <a:lnTo>
                      <a:pt x="12" y="90"/>
                    </a:lnTo>
                    <a:lnTo>
                      <a:pt x="11" y="90"/>
                    </a:lnTo>
                    <a:lnTo>
                      <a:pt x="10" y="90"/>
                    </a:lnTo>
                    <a:lnTo>
                      <a:pt x="9" y="90"/>
                    </a:lnTo>
                    <a:lnTo>
                      <a:pt x="7" y="90"/>
                    </a:lnTo>
                    <a:lnTo>
                      <a:pt x="7" y="90"/>
                    </a:lnTo>
                    <a:lnTo>
                      <a:pt x="6" y="90"/>
                    </a:lnTo>
                    <a:lnTo>
                      <a:pt x="5" y="90"/>
                    </a:lnTo>
                    <a:lnTo>
                      <a:pt x="4" y="90"/>
                    </a:lnTo>
                    <a:lnTo>
                      <a:pt x="3" y="90"/>
                    </a:lnTo>
                    <a:lnTo>
                      <a:pt x="2" y="89"/>
                    </a:lnTo>
                    <a:lnTo>
                      <a:pt x="2" y="89"/>
                    </a:lnTo>
                    <a:lnTo>
                      <a:pt x="1" y="88"/>
                    </a:lnTo>
                    <a:lnTo>
                      <a:pt x="1" y="87"/>
                    </a:lnTo>
                    <a:lnTo>
                      <a:pt x="1" y="86"/>
                    </a:lnTo>
                    <a:lnTo>
                      <a:pt x="0" y="85"/>
                    </a:lnTo>
                    <a:lnTo>
                      <a:pt x="0" y="84"/>
                    </a:lnTo>
                    <a:lnTo>
                      <a:pt x="0" y="82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1" y="76"/>
                    </a:lnTo>
                    <a:lnTo>
                      <a:pt x="1" y="74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1" y="71"/>
                    </a:lnTo>
                    <a:lnTo>
                      <a:pt x="2" y="71"/>
                    </a:lnTo>
                    <a:lnTo>
                      <a:pt x="2" y="71"/>
                    </a:lnTo>
                    <a:lnTo>
                      <a:pt x="3" y="71"/>
                    </a:lnTo>
                    <a:lnTo>
                      <a:pt x="3" y="71"/>
                    </a:lnTo>
                    <a:lnTo>
                      <a:pt x="4" y="71"/>
                    </a:lnTo>
                    <a:lnTo>
                      <a:pt x="5" y="71"/>
                    </a:lnTo>
                    <a:lnTo>
                      <a:pt x="5" y="71"/>
                    </a:lnTo>
                    <a:lnTo>
                      <a:pt x="6" y="70"/>
                    </a:lnTo>
                    <a:lnTo>
                      <a:pt x="6" y="69"/>
                    </a:lnTo>
                    <a:lnTo>
                      <a:pt x="7" y="68"/>
                    </a:lnTo>
                    <a:lnTo>
                      <a:pt x="7" y="68"/>
                    </a:lnTo>
                    <a:lnTo>
                      <a:pt x="7" y="67"/>
                    </a:lnTo>
                    <a:lnTo>
                      <a:pt x="8" y="65"/>
                    </a:lnTo>
                    <a:lnTo>
                      <a:pt x="8" y="63"/>
                    </a:lnTo>
                    <a:lnTo>
                      <a:pt x="9" y="62"/>
                    </a:lnTo>
                    <a:lnTo>
                      <a:pt x="9" y="61"/>
                    </a:lnTo>
                    <a:lnTo>
                      <a:pt x="9" y="61"/>
                    </a:lnTo>
                    <a:lnTo>
                      <a:pt x="9" y="60"/>
                    </a:lnTo>
                    <a:lnTo>
                      <a:pt x="9" y="60"/>
                    </a:lnTo>
                    <a:lnTo>
                      <a:pt x="8" y="59"/>
                    </a:lnTo>
                    <a:lnTo>
                      <a:pt x="8" y="59"/>
                    </a:lnTo>
                    <a:lnTo>
                      <a:pt x="7" y="59"/>
                    </a:lnTo>
                    <a:lnTo>
                      <a:pt x="6" y="59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4" y="58"/>
                    </a:lnTo>
                    <a:lnTo>
                      <a:pt x="4" y="57"/>
                    </a:lnTo>
                    <a:lnTo>
                      <a:pt x="4" y="57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7" y="53"/>
                    </a:lnTo>
                    <a:lnTo>
                      <a:pt x="7" y="53"/>
                    </a:lnTo>
                    <a:lnTo>
                      <a:pt x="7" y="53"/>
                    </a:lnTo>
                    <a:lnTo>
                      <a:pt x="7" y="52"/>
                    </a:lnTo>
                    <a:lnTo>
                      <a:pt x="7" y="52"/>
                    </a:lnTo>
                    <a:lnTo>
                      <a:pt x="7" y="51"/>
                    </a:lnTo>
                    <a:lnTo>
                      <a:pt x="7" y="51"/>
                    </a:lnTo>
                    <a:lnTo>
                      <a:pt x="6" y="50"/>
                    </a:lnTo>
                    <a:lnTo>
                      <a:pt x="6" y="49"/>
                    </a:lnTo>
                    <a:lnTo>
                      <a:pt x="5" y="48"/>
                    </a:lnTo>
                    <a:lnTo>
                      <a:pt x="4" y="47"/>
                    </a:lnTo>
                    <a:lnTo>
                      <a:pt x="4" y="47"/>
                    </a:lnTo>
                    <a:lnTo>
                      <a:pt x="3" y="46"/>
                    </a:lnTo>
                    <a:lnTo>
                      <a:pt x="3" y="45"/>
                    </a:lnTo>
                    <a:lnTo>
                      <a:pt x="2" y="44"/>
                    </a:lnTo>
                    <a:lnTo>
                      <a:pt x="3" y="45"/>
                    </a:lnTo>
                    <a:lnTo>
                      <a:pt x="3" y="45"/>
                    </a:lnTo>
                    <a:lnTo>
                      <a:pt x="4" y="44"/>
                    </a:lnTo>
                    <a:lnTo>
                      <a:pt x="5" y="44"/>
                    </a:lnTo>
                    <a:lnTo>
                      <a:pt x="5" y="44"/>
                    </a:lnTo>
                    <a:lnTo>
                      <a:pt x="5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3"/>
                    </a:lnTo>
                    <a:lnTo>
                      <a:pt x="7" y="43"/>
                    </a:lnTo>
                    <a:lnTo>
                      <a:pt x="7" y="42"/>
                    </a:lnTo>
                    <a:lnTo>
                      <a:pt x="7" y="42"/>
                    </a:lnTo>
                    <a:lnTo>
                      <a:pt x="7" y="41"/>
                    </a:lnTo>
                    <a:lnTo>
                      <a:pt x="7" y="41"/>
                    </a:lnTo>
                    <a:lnTo>
                      <a:pt x="7" y="40"/>
                    </a:lnTo>
                    <a:lnTo>
                      <a:pt x="7" y="40"/>
                    </a:lnTo>
                    <a:lnTo>
                      <a:pt x="7" y="39"/>
                    </a:lnTo>
                    <a:lnTo>
                      <a:pt x="6" y="39"/>
                    </a:lnTo>
                    <a:lnTo>
                      <a:pt x="6" y="38"/>
                    </a:lnTo>
                    <a:lnTo>
                      <a:pt x="6" y="37"/>
                    </a:lnTo>
                    <a:lnTo>
                      <a:pt x="6" y="37"/>
                    </a:lnTo>
                    <a:lnTo>
                      <a:pt x="5" y="36"/>
                    </a:lnTo>
                    <a:lnTo>
                      <a:pt x="5" y="35"/>
                    </a:lnTo>
                    <a:lnTo>
                      <a:pt x="5" y="34"/>
                    </a:lnTo>
                    <a:lnTo>
                      <a:pt x="5" y="33"/>
                    </a:lnTo>
                    <a:lnTo>
                      <a:pt x="5" y="32"/>
                    </a:lnTo>
                    <a:lnTo>
                      <a:pt x="5" y="31"/>
                    </a:lnTo>
                    <a:lnTo>
                      <a:pt x="5" y="30"/>
                    </a:lnTo>
                    <a:lnTo>
                      <a:pt x="5" y="29"/>
                    </a:lnTo>
                    <a:lnTo>
                      <a:pt x="5" y="28"/>
                    </a:lnTo>
                    <a:lnTo>
                      <a:pt x="5" y="27"/>
                    </a:lnTo>
                    <a:lnTo>
                      <a:pt x="5" y="26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1" y="22"/>
                    </a:lnTo>
                    <a:lnTo>
                      <a:pt x="11" y="21"/>
                    </a:lnTo>
                    <a:lnTo>
                      <a:pt x="11" y="21"/>
                    </a:lnTo>
                    <a:lnTo>
                      <a:pt x="12" y="21"/>
                    </a:lnTo>
                    <a:lnTo>
                      <a:pt x="13" y="21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7" y="20"/>
                    </a:lnTo>
                    <a:lnTo>
                      <a:pt x="17" y="19"/>
                    </a:lnTo>
                    <a:lnTo>
                      <a:pt x="18" y="19"/>
                    </a:lnTo>
                    <a:lnTo>
                      <a:pt x="19" y="19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1" y="18"/>
                    </a:lnTo>
                    <a:lnTo>
                      <a:pt x="21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5" y="16"/>
                    </a:lnTo>
                    <a:lnTo>
                      <a:pt x="25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7" y="15"/>
                    </a:lnTo>
                    <a:lnTo>
                      <a:pt x="28" y="15"/>
                    </a:lnTo>
                    <a:lnTo>
                      <a:pt x="29" y="15"/>
                    </a:lnTo>
                    <a:lnTo>
                      <a:pt x="29" y="15"/>
                    </a:lnTo>
                    <a:lnTo>
                      <a:pt x="29" y="15"/>
                    </a:lnTo>
                    <a:lnTo>
                      <a:pt x="30" y="15"/>
                    </a:lnTo>
                    <a:lnTo>
                      <a:pt x="31" y="15"/>
                    </a:lnTo>
                    <a:lnTo>
                      <a:pt x="32" y="15"/>
                    </a:lnTo>
                    <a:lnTo>
                      <a:pt x="33" y="15"/>
                    </a:lnTo>
                    <a:lnTo>
                      <a:pt x="34" y="15"/>
                    </a:lnTo>
                    <a:lnTo>
                      <a:pt x="35" y="15"/>
                    </a:lnTo>
                    <a:lnTo>
                      <a:pt x="36" y="15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7" y="14"/>
                    </a:lnTo>
                    <a:lnTo>
                      <a:pt x="37" y="14"/>
                    </a:lnTo>
                    <a:lnTo>
                      <a:pt x="37" y="13"/>
                    </a:lnTo>
                    <a:lnTo>
                      <a:pt x="37" y="13"/>
                    </a:lnTo>
                    <a:lnTo>
                      <a:pt x="38" y="13"/>
                    </a:lnTo>
                    <a:lnTo>
                      <a:pt x="38" y="13"/>
                    </a:lnTo>
                    <a:lnTo>
                      <a:pt x="38" y="12"/>
                    </a:lnTo>
                    <a:lnTo>
                      <a:pt x="39" y="12"/>
                    </a:lnTo>
                    <a:lnTo>
                      <a:pt x="39" y="12"/>
                    </a:lnTo>
                    <a:lnTo>
                      <a:pt x="39" y="11"/>
                    </a:lnTo>
                    <a:lnTo>
                      <a:pt x="39" y="10"/>
                    </a:lnTo>
                    <a:lnTo>
                      <a:pt x="39" y="10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1" y="8"/>
                    </a:lnTo>
                    <a:lnTo>
                      <a:pt x="42" y="8"/>
                    </a:lnTo>
                    <a:lnTo>
                      <a:pt x="43" y="7"/>
                    </a:lnTo>
                    <a:lnTo>
                      <a:pt x="43" y="6"/>
                    </a:lnTo>
                    <a:lnTo>
                      <a:pt x="43" y="6"/>
                    </a:lnTo>
                    <a:lnTo>
                      <a:pt x="44" y="5"/>
                    </a:lnTo>
                    <a:lnTo>
                      <a:pt x="44" y="5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6" y="4"/>
                    </a:lnTo>
                    <a:lnTo>
                      <a:pt x="46" y="3"/>
                    </a:lnTo>
                    <a:lnTo>
                      <a:pt x="47" y="3"/>
                    </a:lnTo>
                    <a:lnTo>
                      <a:pt x="47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9" y="2"/>
                    </a:lnTo>
                    <a:lnTo>
                      <a:pt x="49" y="2"/>
                    </a:lnTo>
                    <a:lnTo>
                      <a:pt x="49" y="2"/>
                    </a:lnTo>
                    <a:lnTo>
                      <a:pt x="49" y="1"/>
                    </a:lnTo>
                    <a:lnTo>
                      <a:pt x="50" y="1"/>
                    </a:lnTo>
                    <a:lnTo>
                      <a:pt x="50" y="1"/>
                    </a:lnTo>
                    <a:lnTo>
                      <a:pt x="51" y="0"/>
                    </a:lnTo>
                    <a:lnTo>
                      <a:pt x="52" y="0"/>
                    </a:lnTo>
                    <a:lnTo>
                      <a:pt x="53" y="0"/>
                    </a:lnTo>
                    <a:lnTo>
                      <a:pt x="53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55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7" y="1"/>
                    </a:lnTo>
                    <a:lnTo>
                      <a:pt x="57" y="1"/>
                    </a:lnTo>
                    <a:lnTo>
                      <a:pt x="58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1" y="3"/>
                    </a:lnTo>
                    <a:lnTo>
                      <a:pt x="61" y="3"/>
                    </a:lnTo>
                    <a:lnTo>
                      <a:pt x="61" y="3"/>
                    </a:lnTo>
                    <a:lnTo>
                      <a:pt x="62" y="3"/>
                    </a:lnTo>
                    <a:lnTo>
                      <a:pt x="62" y="3"/>
                    </a:lnTo>
                    <a:lnTo>
                      <a:pt x="63" y="3"/>
                    </a:lnTo>
                    <a:lnTo>
                      <a:pt x="64" y="3"/>
                    </a:lnTo>
                    <a:lnTo>
                      <a:pt x="65" y="3"/>
                    </a:lnTo>
                    <a:lnTo>
                      <a:pt x="65" y="3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7" y="5"/>
                    </a:lnTo>
                    <a:lnTo>
                      <a:pt x="68" y="5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1" y="6"/>
                    </a:lnTo>
                    <a:lnTo>
                      <a:pt x="72" y="6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4" y="7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5" y="6"/>
                    </a:lnTo>
                    <a:lnTo>
                      <a:pt x="75" y="6"/>
                    </a:lnTo>
                    <a:lnTo>
                      <a:pt x="76" y="5"/>
                    </a:lnTo>
                    <a:lnTo>
                      <a:pt x="76" y="5"/>
                    </a:lnTo>
                    <a:lnTo>
                      <a:pt x="77" y="4"/>
                    </a:lnTo>
                    <a:lnTo>
                      <a:pt x="78" y="4"/>
                    </a:lnTo>
                    <a:lnTo>
                      <a:pt x="78" y="3"/>
                    </a:lnTo>
                    <a:lnTo>
                      <a:pt x="78" y="3"/>
                    </a:lnTo>
                    <a:lnTo>
                      <a:pt x="79" y="3"/>
                    </a:lnTo>
                    <a:lnTo>
                      <a:pt x="79" y="3"/>
                    </a:lnTo>
                    <a:lnTo>
                      <a:pt x="80" y="3"/>
                    </a:lnTo>
                    <a:lnTo>
                      <a:pt x="80" y="3"/>
                    </a:lnTo>
                    <a:lnTo>
                      <a:pt x="80" y="3"/>
                    </a:lnTo>
                    <a:lnTo>
                      <a:pt x="80" y="2"/>
                    </a:lnTo>
                    <a:lnTo>
                      <a:pt x="80" y="2"/>
                    </a:lnTo>
                    <a:lnTo>
                      <a:pt x="80" y="2"/>
                    </a:lnTo>
                    <a:lnTo>
                      <a:pt x="80" y="1"/>
                    </a:lnTo>
                    <a:lnTo>
                      <a:pt x="81" y="1"/>
                    </a:lnTo>
                    <a:lnTo>
                      <a:pt x="81" y="1"/>
                    </a:lnTo>
                    <a:lnTo>
                      <a:pt x="82" y="1"/>
                    </a:lnTo>
                    <a:lnTo>
                      <a:pt x="82" y="1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3"/>
                    </a:lnTo>
                    <a:lnTo>
                      <a:pt x="83" y="3"/>
                    </a:lnTo>
                    <a:lnTo>
                      <a:pt x="83" y="3"/>
                    </a:lnTo>
                    <a:lnTo>
                      <a:pt x="83" y="3"/>
                    </a:lnTo>
                    <a:lnTo>
                      <a:pt x="84" y="3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5" y="5"/>
                    </a:lnTo>
                    <a:lnTo>
                      <a:pt x="85" y="6"/>
                    </a:lnTo>
                    <a:lnTo>
                      <a:pt x="85" y="7"/>
                    </a:lnTo>
                    <a:lnTo>
                      <a:pt x="85" y="7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5" y="9"/>
                    </a:lnTo>
                    <a:lnTo>
                      <a:pt x="85" y="10"/>
                    </a:lnTo>
                    <a:lnTo>
                      <a:pt x="85" y="10"/>
                    </a:lnTo>
                    <a:lnTo>
                      <a:pt x="85" y="11"/>
                    </a:lnTo>
                    <a:lnTo>
                      <a:pt x="85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3"/>
                    </a:lnTo>
                    <a:lnTo>
                      <a:pt x="87" y="13"/>
                    </a:lnTo>
                    <a:lnTo>
                      <a:pt x="87" y="13"/>
                    </a:lnTo>
                    <a:lnTo>
                      <a:pt x="87" y="14"/>
                    </a:lnTo>
                    <a:lnTo>
                      <a:pt x="87" y="15"/>
                    </a:lnTo>
                    <a:lnTo>
                      <a:pt x="87" y="15"/>
                    </a:lnTo>
                    <a:lnTo>
                      <a:pt x="87" y="16"/>
                    </a:lnTo>
                    <a:lnTo>
                      <a:pt x="87" y="17"/>
                    </a:lnTo>
                    <a:lnTo>
                      <a:pt x="88" y="17"/>
                    </a:lnTo>
                    <a:lnTo>
                      <a:pt x="88" y="18"/>
                    </a:lnTo>
                    <a:lnTo>
                      <a:pt x="88" y="18"/>
                    </a:lnTo>
                    <a:lnTo>
                      <a:pt x="89" y="19"/>
                    </a:lnTo>
                    <a:lnTo>
                      <a:pt x="89" y="19"/>
                    </a:lnTo>
                    <a:lnTo>
                      <a:pt x="90" y="19"/>
                    </a:lnTo>
                    <a:lnTo>
                      <a:pt x="90" y="20"/>
                    </a:lnTo>
                    <a:lnTo>
                      <a:pt x="90" y="22"/>
                    </a:lnTo>
                    <a:lnTo>
                      <a:pt x="90" y="24"/>
                    </a:lnTo>
                    <a:lnTo>
                      <a:pt x="90" y="26"/>
                    </a:lnTo>
                    <a:lnTo>
                      <a:pt x="90" y="28"/>
                    </a:lnTo>
                    <a:lnTo>
                      <a:pt x="90" y="28"/>
                    </a:lnTo>
                    <a:lnTo>
                      <a:pt x="89" y="28"/>
                    </a:lnTo>
                    <a:lnTo>
                      <a:pt x="89" y="29"/>
                    </a:lnTo>
                    <a:lnTo>
                      <a:pt x="88" y="29"/>
                    </a:lnTo>
                    <a:lnTo>
                      <a:pt x="88" y="30"/>
                    </a:lnTo>
                    <a:lnTo>
                      <a:pt x="88" y="30"/>
                    </a:lnTo>
                    <a:lnTo>
                      <a:pt x="87" y="31"/>
                    </a:lnTo>
                    <a:lnTo>
                      <a:pt x="87" y="31"/>
                    </a:lnTo>
                    <a:lnTo>
                      <a:pt x="87" y="32"/>
                    </a:lnTo>
                    <a:lnTo>
                      <a:pt x="87" y="33"/>
                    </a:lnTo>
                    <a:lnTo>
                      <a:pt x="87" y="34"/>
                    </a:lnTo>
                    <a:lnTo>
                      <a:pt x="87" y="35"/>
                    </a:lnTo>
                    <a:lnTo>
                      <a:pt x="88" y="35"/>
                    </a:lnTo>
                    <a:lnTo>
                      <a:pt x="89" y="36"/>
                    </a:lnTo>
                    <a:lnTo>
                      <a:pt x="90" y="36"/>
                    </a:lnTo>
                    <a:lnTo>
                      <a:pt x="91" y="37"/>
                    </a:lnTo>
                    <a:lnTo>
                      <a:pt x="92" y="37"/>
                    </a:lnTo>
                    <a:lnTo>
                      <a:pt x="93" y="37"/>
                    </a:lnTo>
                    <a:lnTo>
                      <a:pt x="93" y="38"/>
                    </a:lnTo>
                    <a:lnTo>
                      <a:pt x="94" y="38"/>
                    </a:lnTo>
                    <a:lnTo>
                      <a:pt x="95" y="38"/>
                    </a:lnTo>
                    <a:lnTo>
                      <a:pt x="96" y="38"/>
                    </a:lnTo>
                    <a:lnTo>
                      <a:pt x="97" y="37"/>
                    </a:lnTo>
                    <a:lnTo>
                      <a:pt x="98" y="37"/>
                    </a:lnTo>
                    <a:lnTo>
                      <a:pt x="99" y="37"/>
                    </a:lnTo>
                    <a:lnTo>
                      <a:pt x="100" y="37"/>
                    </a:lnTo>
                    <a:lnTo>
                      <a:pt x="102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4" y="36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5" y="34"/>
                    </a:lnTo>
                    <a:lnTo>
                      <a:pt x="105" y="34"/>
                    </a:lnTo>
                    <a:lnTo>
                      <a:pt x="106" y="34"/>
                    </a:lnTo>
                    <a:lnTo>
                      <a:pt x="106" y="33"/>
                    </a:lnTo>
                    <a:lnTo>
                      <a:pt x="107" y="33"/>
                    </a:lnTo>
                    <a:lnTo>
                      <a:pt x="107" y="33"/>
                    </a:lnTo>
                    <a:lnTo>
                      <a:pt x="107" y="33"/>
                    </a:lnTo>
                    <a:lnTo>
                      <a:pt x="108" y="33"/>
                    </a:lnTo>
                    <a:lnTo>
                      <a:pt x="108" y="33"/>
                    </a:lnTo>
                    <a:lnTo>
                      <a:pt x="108" y="32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09" y="31"/>
                    </a:lnTo>
                    <a:lnTo>
                      <a:pt x="109" y="31"/>
                    </a:lnTo>
                    <a:lnTo>
                      <a:pt x="110" y="31"/>
                    </a:lnTo>
                    <a:lnTo>
                      <a:pt x="110" y="31"/>
                    </a:lnTo>
                    <a:lnTo>
                      <a:pt x="111" y="32"/>
                    </a:lnTo>
                    <a:lnTo>
                      <a:pt x="111" y="32"/>
                    </a:lnTo>
                    <a:lnTo>
                      <a:pt x="111" y="32"/>
                    </a:lnTo>
                    <a:lnTo>
                      <a:pt x="112" y="33"/>
                    </a:lnTo>
                    <a:lnTo>
                      <a:pt x="112" y="34"/>
                    </a:lnTo>
                    <a:lnTo>
                      <a:pt x="113" y="35"/>
                    </a:lnTo>
                    <a:lnTo>
                      <a:pt x="113" y="36"/>
                    </a:lnTo>
                    <a:lnTo>
                      <a:pt x="113" y="37"/>
                    </a:lnTo>
                    <a:lnTo>
                      <a:pt x="113" y="38"/>
                    </a:lnTo>
                    <a:lnTo>
                      <a:pt x="114" y="39"/>
                    </a:lnTo>
                    <a:lnTo>
                      <a:pt x="114" y="40"/>
                    </a:lnTo>
                    <a:lnTo>
                      <a:pt x="114" y="41"/>
                    </a:lnTo>
                    <a:lnTo>
                      <a:pt x="115" y="41"/>
                    </a:lnTo>
                    <a:lnTo>
                      <a:pt x="115" y="42"/>
                    </a:lnTo>
                    <a:lnTo>
                      <a:pt x="116" y="42"/>
                    </a:lnTo>
                    <a:lnTo>
                      <a:pt x="116" y="43"/>
                    </a:lnTo>
                    <a:lnTo>
                      <a:pt x="117" y="43"/>
                    </a:lnTo>
                    <a:lnTo>
                      <a:pt x="117" y="43"/>
                    </a:lnTo>
                    <a:lnTo>
                      <a:pt x="117" y="43"/>
                    </a:lnTo>
                    <a:lnTo>
                      <a:pt x="118" y="43"/>
                    </a:lnTo>
                    <a:lnTo>
                      <a:pt x="118" y="43"/>
                    </a:lnTo>
                    <a:lnTo>
                      <a:pt x="118" y="42"/>
                    </a:lnTo>
                    <a:lnTo>
                      <a:pt x="118" y="42"/>
                    </a:lnTo>
                    <a:lnTo>
                      <a:pt x="119" y="42"/>
                    </a:lnTo>
                    <a:lnTo>
                      <a:pt x="119" y="42"/>
                    </a:lnTo>
                    <a:lnTo>
                      <a:pt x="119" y="41"/>
                    </a:lnTo>
                    <a:lnTo>
                      <a:pt x="119" y="41"/>
                    </a:lnTo>
                    <a:lnTo>
                      <a:pt x="120" y="41"/>
                    </a:lnTo>
                    <a:lnTo>
                      <a:pt x="120" y="41"/>
                    </a:lnTo>
                    <a:lnTo>
                      <a:pt x="120" y="40"/>
                    </a:lnTo>
                    <a:lnTo>
                      <a:pt x="120" y="40"/>
                    </a:lnTo>
                    <a:lnTo>
                      <a:pt x="120" y="39"/>
                    </a:lnTo>
                    <a:lnTo>
                      <a:pt x="120" y="39"/>
                    </a:lnTo>
                    <a:lnTo>
                      <a:pt x="120" y="38"/>
                    </a:lnTo>
                    <a:lnTo>
                      <a:pt x="121" y="38"/>
                    </a:lnTo>
                    <a:lnTo>
                      <a:pt x="121" y="38"/>
                    </a:lnTo>
                    <a:lnTo>
                      <a:pt x="122" y="38"/>
                    </a:lnTo>
                    <a:lnTo>
                      <a:pt x="122" y="37"/>
                    </a:lnTo>
                    <a:lnTo>
                      <a:pt x="123" y="37"/>
                    </a:lnTo>
                    <a:lnTo>
                      <a:pt x="123" y="36"/>
                    </a:lnTo>
                    <a:lnTo>
                      <a:pt x="124" y="36"/>
                    </a:lnTo>
                    <a:lnTo>
                      <a:pt x="124" y="36"/>
                    </a:lnTo>
                    <a:lnTo>
                      <a:pt x="125" y="36"/>
                    </a:lnTo>
                    <a:lnTo>
                      <a:pt x="125" y="37"/>
                    </a:lnTo>
                    <a:lnTo>
                      <a:pt x="126" y="37"/>
                    </a:lnTo>
                    <a:lnTo>
                      <a:pt x="126" y="37"/>
                    </a:lnTo>
                    <a:lnTo>
                      <a:pt x="126" y="38"/>
                    </a:lnTo>
                    <a:lnTo>
                      <a:pt x="127" y="38"/>
                    </a:lnTo>
                    <a:lnTo>
                      <a:pt x="127" y="39"/>
                    </a:lnTo>
                    <a:lnTo>
                      <a:pt x="127" y="39"/>
                    </a:lnTo>
                    <a:lnTo>
                      <a:pt x="127" y="39"/>
                    </a:lnTo>
                    <a:lnTo>
                      <a:pt x="128" y="40"/>
                    </a:lnTo>
                    <a:lnTo>
                      <a:pt x="128" y="40"/>
                    </a:lnTo>
                    <a:lnTo>
                      <a:pt x="129" y="40"/>
                    </a:lnTo>
                    <a:lnTo>
                      <a:pt x="130" y="40"/>
                    </a:lnTo>
                    <a:lnTo>
                      <a:pt x="130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1"/>
                    </a:lnTo>
                    <a:lnTo>
                      <a:pt x="132" y="41"/>
                    </a:lnTo>
                    <a:lnTo>
                      <a:pt x="132" y="41"/>
                    </a:lnTo>
                    <a:lnTo>
                      <a:pt x="133" y="41"/>
                    </a:lnTo>
                    <a:lnTo>
                      <a:pt x="133" y="41"/>
                    </a:lnTo>
                    <a:lnTo>
                      <a:pt x="134" y="41"/>
                    </a:lnTo>
                    <a:lnTo>
                      <a:pt x="134" y="41"/>
                    </a:lnTo>
                    <a:lnTo>
                      <a:pt x="134" y="41"/>
                    </a:lnTo>
                    <a:lnTo>
                      <a:pt x="135" y="41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6" y="40"/>
                    </a:lnTo>
                    <a:lnTo>
                      <a:pt x="136" y="39"/>
                    </a:lnTo>
                    <a:lnTo>
                      <a:pt x="136" y="39"/>
                    </a:lnTo>
                    <a:lnTo>
                      <a:pt x="137" y="39"/>
                    </a:lnTo>
                    <a:lnTo>
                      <a:pt x="137" y="39"/>
                    </a:lnTo>
                    <a:lnTo>
                      <a:pt x="138" y="39"/>
                    </a:lnTo>
                    <a:lnTo>
                      <a:pt x="138" y="38"/>
                    </a:lnTo>
                    <a:lnTo>
                      <a:pt x="138" y="38"/>
                    </a:lnTo>
                    <a:lnTo>
                      <a:pt x="138" y="39"/>
                    </a:lnTo>
                    <a:lnTo>
                      <a:pt x="138" y="39"/>
                    </a:lnTo>
                    <a:lnTo>
                      <a:pt x="138" y="39"/>
                    </a:lnTo>
                    <a:lnTo>
                      <a:pt x="139" y="39"/>
                    </a:lnTo>
                    <a:lnTo>
                      <a:pt x="139" y="40"/>
                    </a:lnTo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1" name="Заголовок 1"/>
          <p:cNvSpPr txBox="1">
            <a:spLocks/>
          </p:cNvSpPr>
          <p:nvPr/>
        </p:nvSpPr>
        <p:spPr>
          <a:xfrm>
            <a:off x="395094" y="2152889"/>
            <a:ext cx="1467310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>
                <a:solidFill>
                  <a:schemeClr val="accent1"/>
                </a:solidFill>
              </a:rPr>
              <a:t>1</a:t>
            </a:r>
            <a:r>
              <a:rPr lang="ru-RU" sz="3200" b="1" dirty="0">
                <a:solidFill>
                  <a:schemeClr val="accent1"/>
                </a:solidFill>
              </a:rPr>
              <a:t>25,5</a:t>
            </a:r>
            <a:r>
              <a:rPr lang="ru-RU" sz="3200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 </a:t>
            </a:r>
            <a:r>
              <a:rPr lang="en-US" sz="1400" b="1" dirty="0" err="1" smtClean="0">
                <a:solidFill>
                  <a:schemeClr val="bg1">
                    <a:lumMod val="75000"/>
                  </a:schemeClr>
                </a:solidFill>
              </a:rPr>
              <a:t>bln</a:t>
            </a:r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sz="1400" b="1" dirty="0" err="1" smtClean="0">
                <a:solidFill>
                  <a:schemeClr val="bg1">
                    <a:lumMod val="75000"/>
                  </a:schemeClr>
                </a:solidFill>
              </a:rPr>
              <a:t>tg</a:t>
            </a:r>
            <a:endParaRPr lang="ru-RU" sz="14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4881366" y="2135002"/>
            <a:ext cx="1659095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200" b="1" dirty="0">
                <a:solidFill>
                  <a:schemeClr val="accent1"/>
                </a:solidFill>
              </a:rPr>
              <a:t>99,4%</a:t>
            </a:r>
            <a:r>
              <a:rPr lang="en-US" sz="3200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 </a:t>
            </a:r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PVI</a:t>
            </a:r>
            <a:endParaRPr lang="ru-RU" sz="1400" b="1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658709" y="3155139"/>
            <a:ext cx="568863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101"/>
          <p:cNvSpPr>
            <a:spLocks noEditPoints="1"/>
          </p:cNvSpPr>
          <p:nvPr/>
        </p:nvSpPr>
        <p:spPr bwMode="auto">
          <a:xfrm>
            <a:off x="881164" y="1428662"/>
            <a:ext cx="487569" cy="449261"/>
          </a:xfrm>
          <a:custGeom>
            <a:avLst/>
            <a:gdLst>
              <a:gd name="T0" fmla="*/ 2147483646 w 68"/>
              <a:gd name="T1" fmla="*/ 2147483646 h 63"/>
              <a:gd name="T2" fmla="*/ 2147483646 w 68"/>
              <a:gd name="T3" fmla="*/ 2147483646 h 63"/>
              <a:gd name="T4" fmla="*/ 2147483646 w 68"/>
              <a:gd name="T5" fmla="*/ 2147483646 h 63"/>
              <a:gd name="T6" fmla="*/ 2147483646 w 68"/>
              <a:gd name="T7" fmla="*/ 2147483646 h 63"/>
              <a:gd name="T8" fmla="*/ 2147483646 w 68"/>
              <a:gd name="T9" fmla="*/ 2147483646 h 63"/>
              <a:gd name="T10" fmla="*/ 2147483646 w 68"/>
              <a:gd name="T11" fmla="*/ 2147483646 h 63"/>
              <a:gd name="T12" fmla="*/ 2147483646 w 68"/>
              <a:gd name="T13" fmla="*/ 2147483646 h 63"/>
              <a:gd name="T14" fmla="*/ 2147483646 w 68"/>
              <a:gd name="T15" fmla="*/ 2147483646 h 63"/>
              <a:gd name="T16" fmla="*/ 0 w 68"/>
              <a:gd name="T17" fmla="*/ 2147483646 h 63"/>
              <a:gd name="T18" fmla="*/ 2147483646 w 68"/>
              <a:gd name="T19" fmla="*/ 2147483646 h 63"/>
              <a:gd name="T20" fmla="*/ 2147483646 w 68"/>
              <a:gd name="T21" fmla="*/ 2147483646 h 63"/>
              <a:gd name="T22" fmla="*/ 2147483646 w 68"/>
              <a:gd name="T23" fmla="*/ 2147483646 h 63"/>
              <a:gd name="T24" fmla="*/ 2147483646 w 68"/>
              <a:gd name="T25" fmla="*/ 2147483646 h 63"/>
              <a:gd name="T26" fmla="*/ 2147483646 w 68"/>
              <a:gd name="T27" fmla="*/ 2147483646 h 63"/>
              <a:gd name="T28" fmla="*/ 2147483646 w 68"/>
              <a:gd name="T29" fmla="*/ 2147483646 h 63"/>
              <a:gd name="T30" fmla="*/ 2147483646 w 68"/>
              <a:gd name="T31" fmla="*/ 2147483646 h 63"/>
              <a:gd name="T32" fmla="*/ 2147483646 w 68"/>
              <a:gd name="T33" fmla="*/ 2147483646 h 63"/>
              <a:gd name="T34" fmla="*/ 2147483646 w 68"/>
              <a:gd name="T35" fmla="*/ 2147483646 h 63"/>
              <a:gd name="T36" fmla="*/ 2147483646 w 68"/>
              <a:gd name="T37" fmla="*/ 2147483646 h 63"/>
              <a:gd name="T38" fmla="*/ 2147483646 w 68"/>
              <a:gd name="T39" fmla="*/ 2147483646 h 63"/>
              <a:gd name="T40" fmla="*/ 2147483646 w 68"/>
              <a:gd name="T41" fmla="*/ 2147483646 h 63"/>
              <a:gd name="T42" fmla="*/ 2147483646 w 68"/>
              <a:gd name="T43" fmla="*/ 2147483646 h 63"/>
              <a:gd name="T44" fmla="*/ 2147483646 w 68"/>
              <a:gd name="T45" fmla="*/ 2147483646 h 63"/>
              <a:gd name="T46" fmla="*/ 2147483646 w 68"/>
              <a:gd name="T47" fmla="*/ 2147483646 h 63"/>
              <a:gd name="T48" fmla="*/ 2147483646 w 68"/>
              <a:gd name="T49" fmla="*/ 2147483646 h 63"/>
              <a:gd name="T50" fmla="*/ 2147483646 w 68"/>
              <a:gd name="T51" fmla="*/ 2147483646 h 63"/>
              <a:gd name="T52" fmla="*/ 2147483646 w 68"/>
              <a:gd name="T53" fmla="*/ 2147483646 h 63"/>
              <a:gd name="T54" fmla="*/ 2147483646 w 68"/>
              <a:gd name="T55" fmla="*/ 0 h 63"/>
              <a:gd name="T56" fmla="*/ 2147483646 w 68"/>
              <a:gd name="T57" fmla="*/ 2147483646 h 63"/>
              <a:gd name="T58" fmla="*/ 2147483646 w 68"/>
              <a:gd name="T59" fmla="*/ 2147483646 h 63"/>
              <a:gd name="T60" fmla="*/ 2147483646 w 68"/>
              <a:gd name="T61" fmla="*/ 2147483646 h 63"/>
              <a:gd name="T62" fmla="*/ 2147483646 w 68"/>
              <a:gd name="T63" fmla="*/ 2147483646 h 63"/>
              <a:gd name="T64" fmla="*/ 2147483646 w 68"/>
              <a:gd name="T65" fmla="*/ 2147483646 h 63"/>
              <a:gd name="T66" fmla="*/ 2147483646 w 68"/>
              <a:gd name="T67" fmla="*/ 2147483646 h 63"/>
              <a:gd name="T68" fmla="*/ 2147483646 w 68"/>
              <a:gd name="T69" fmla="*/ 2147483646 h 63"/>
              <a:gd name="T70" fmla="*/ 2147483646 w 68"/>
              <a:gd name="T71" fmla="*/ 2147483646 h 63"/>
              <a:gd name="T72" fmla="*/ 2147483646 w 68"/>
              <a:gd name="T73" fmla="*/ 2147483646 h 63"/>
              <a:gd name="T74" fmla="*/ 2147483646 w 68"/>
              <a:gd name="T75" fmla="*/ 2147483646 h 63"/>
              <a:gd name="T76" fmla="*/ 2147483646 w 68"/>
              <a:gd name="T77" fmla="*/ 2147483646 h 63"/>
              <a:gd name="T78" fmla="*/ 2147483646 w 68"/>
              <a:gd name="T79" fmla="*/ 2147483646 h 63"/>
              <a:gd name="T80" fmla="*/ 2147483646 w 68"/>
              <a:gd name="T81" fmla="*/ 2147483646 h 63"/>
              <a:gd name="T82" fmla="*/ 2147483646 w 68"/>
              <a:gd name="T83" fmla="*/ 2147483646 h 63"/>
              <a:gd name="T84" fmla="*/ 2147483646 w 68"/>
              <a:gd name="T85" fmla="*/ 2147483646 h 63"/>
              <a:gd name="T86" fmla="*/ 2147483646 w 68"/>
              <a:gd name="T87" fmla="*/ 2147483646 h 6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68" h="63">
                <a:moveTo>
                  <a:pt x="45" y="35"/>
                </a:moveTo>
                <a:cubicBezTo>
                  <a:pt x="45" y="35"/>
                  <a:pt x="45" y="36"/>
                  <a:pt x="45" y="36"/>
                </a:cubicBezTo>
                <a:cubicBezTo>
                  <a:pt x="39" y="36"/>
                  <a:pt x="39" y="36"/>
                  <a:pt x="39" y="36"/>
                </a:cubicBezTo>
                <a:cubicBezTo>
                  <a:pt x="39" y="37"/>
                  <a:pt x="38" y="38"/>
                  <a:pt x="38" y="39"/>
                </a:cubicBezTo>
                <a:cubicBezTo>
                  <a:pt x="39" y="41"/>
                  <a:pt x="40" y="42"/>
                  <a:pt x="41" y="43"/>
                </a:cubicBezTo>
                <a:cubicBezTo>
                  <a:pt x="41" y="43"/>
                  <a:pt x="41" y="44"/>
                  <a:pt x="41" y="44"/>
                </a:cubicBezTo>
                <a:cubicBezTo>
                  <a:pt x="41" y="44"/>
                  <a:pt x="41" y="44"/>
                  <a:pt x="41" y="45"/>
                </a:cubicBezTo>
                <a:cubicBezTo>
                  <a:pt x="40" y="46"/>
                  <a:pt x="36" y="50"/>
                  <a:pt x="35" y="50"/>
                </a:cubicBezTo>
                <a:cubicBezTo>
                  <a:pt x="35" y="50"/>
                  <a:pt x="35" y="50"/>
                  <a:pt x="35" y="50"/>
                </a:cubicBezTo>
                <a:cubicBezTo>
                  <a:pt x="31" y="47"/>
                  <a:pt x="31" y="47"/>
                  <a:pt x="31" y="47"/>
                </a:cubicBezTo>
                <a:cubicBezTo>
                  <a:pt x="30" y="47"/>
                  <a:pt x="29" y="47"/>
                  <a:pt x="28" y="48"/>
                </a:cubicBezTo>
                <a:cubicBezTo>
                  <a:pt x="28" y="49"/>
                  <a:pt x="27" y="51"/>
                  <a:pt x="27" y="53"/>
                </a:cubicBezTo>
                <a:cubicBezTo>
                  <a:pt x="27" y="54"/>
                  <a:pt x="26" y="54"/>
                  <a:pt x="26" y="54"/>
                </a:cubicBezTo>
                <a:cubicBezTo>
                  <a:pt x="19" y="54"/>
                  <a:pt x="19" y="54"/>
                  <a:pt x="19" y="54"/>
                </a:cubicBezTo>
                <a:cubicBezTo>
                  <a:pt x="19" y="54"/>
                  <a:pt x="18" y="54"/>
                  <a:pt x="18" y="53"/>
                </a:cubicBezTo>
                <a:cubicBezTo>
                  <a:pt x="17" y="48"/>
                  <a:pt x="17" y="48"/>
                  <a:pt x="17" y="48"/>
                </a:cubicBezTo>
                <a:cubicBezTo>
                  <a:pt x="16" y="47"/>
                  <a:pt x="16" y="47"/>
                  <a:pt x="15" y="47"/>
                </a:cubicBezTo>
                <a:cubicBezTo>
                  <a:pt x="11" y="50"/>
                  <a:pt x="11" y="50"/>
                  <a:pt x="11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10" y="50"/>
                  <a:pt x="9" y="50"/>
                  <a:pt x="9" y="50"/>
                </a:cubicBezTo>
                <a:cubicBezTo>
                  <a:pt x="8" y="49"/>
                  <a:pt x="4" y="45"/>
                  <a:pt x="4" y="44"/>
                </a:cubicBezTo>
                <a:cubicBezTo>
                  <a:pt x="4" y="44"/>
                  <a:pt x="4" y="44"/>
                  <a:pt x="4" y="43"/>
                </a:cubicBezTo>
                <a:cubicBezTo>
                  <a:pt x="5" y="42"/>
                  <a:pt x="6" y="41"/>
                  <a:pt x="7" y="39"/>
                </a:cubicBezTo>
                <a:cubicBezTo>
                  <a:pt x="7" y="38"/>
                  <a:pt x="6" y="37"/>
                  <a:pt x="6" y="36"/>
                </a:cubicBezTo>
                <a:cubicBezTo>
                  <a:pt x="1" y="35"/>
                  <a:pt x="1" y="35"/>
                  <a:pt x="1" y="35"/>
                </a:cubicBezTo>
                <a:cubicBezTo>
                  <a:pt x="0" y="35"/>
                  <a:pt x="0" y="35"/>
                  <a:pt x="0" y="3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7"/>
                  <a:pt x="0" y="27"/>
                  <a:pt x="1" y="27"/>
                </a:cubicBezTo>
                <a:cubicBezTo>
                  <a:pt x="6" y="26"/>
                  <a:pt x="6" y="26"/>
                  <a:pt x="6" y="26"/>
                </a:cubicBezTo>
                <a:cubicBezTo>
                  <a:pt x="6" y="25"/>
                  <a:pt x="7" y="24"/>
                  <a:pt x="7" y="23"/>
                </a:cubicBezTo>
                <a:cubicBezTo>
                  <a:pt x="6" y="22"/>
                  <a:pt x="5" y="20"/>
                  <a:pt x="4" y="19"/>
                </a:cubicBezTo>
                <a:cubicBezTo>
                  <a:pt x="4" y="19"/>
                  <a:pt x="4" y="19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5" y="17"/>
                  <a:pt x="9" y="12"/>
                  <a:pt x="10" y="12"/>
                </a:cubicBezTo>
                <a:cubicBezTo>
                  <a:pt x="10" y="12"/>
                  <a:pt x="10" y="12"/>
                  <a:pt x="11" y="13"/>
                </a:cubicBezTo>
                <a:cubicBezTo>
                  <a:pt x="15" y="16"/>
                  <a:pt x="15" y="16"/>
                  <a:pt x="15" y="16"/>
                </a:cubicBezTo>
                <a:cubicBezTo>
                  <a:pt x="16" y="15"/>
                  <a:pt x="16" y="15"/>
                  <a:pt x="17" y="15"/>
                </a:cubicBezTo>
                <a:cubicBezTo>
                  <a:pt x="18" y="13"/>
                  <a:pt x="18" y="11"/>
                  <a:pt x="18" y="9"/>
                </a:cubicBezTo>
                <a:cubicBezTo>
                  <a:pt x="18" y="9"/>
                  <a:pt x="19" y="8"/>
                  <a:pt x="19" y="8"/>
                </a:cubicBezTo>
                <a:cubicBezTo>
                  <a:pt x="26" y="8"/>
                  <a:pt x="26" y="8"/>
                  <a:pt x="26" y="8"/>
                </a:cubicBezTo>
                <a:cubicBezTo>
                  <a:pt x="26" y="8"/>
                  <a:pt x="27" y="9"/>
                  <a:pt x="27" y="9"/>
                </a:cubicBezTo>
                <a:cubicBezTo>
                  <a:pt x="28" y="15"/>
                  <a:pt x="28" y="15"/>
                  <a:pt x="28" y="15"/>
                </a:cubicBezTo>
                <a:cubicBezTo>
                  <a:pt x="29" y="15"/>
                  <a:pt x="30" y="15"/>
                  <a:pt x="31" y="16"/>
                </a:cubicBezTo>
                <a:cubicBezTo>
                  <a:pt x="35" y="13"/>
                  <a:pt x="35" y="13"/>
                  <a:pt x="35" y="13"/>
                </a:cubicBezTo>
                <a:cubicBezTo>
                  <a:pt x="35" y="12"/>
                  <a:pt x="35" y="12"/>
                  <a:pt x="35" y="12"/>
                </a:cubicBezTo>
                <a:cubicBezTo>
                  <a:pt x="36" y="12"/>
                  <a:pt x="36" y="12"/>
                  <a:pt x="36" y="13"/>
                </a:cubicBezTo>
                <a:cubicBezTo>
                  <a:pt x="37" y="13"/>
                  <a:pt x="41" y="17"/>
                  <a:pt x="41" y="18"/>
                </a:cubicBezTo>
                <a:cubicBezTo>
                  <a:pt x="41" y="19"/>
                  <a:pt x="41" y="19"/>
                  <a:pt x="41" y="19"/>
                </a:cubicBezTo>
                <a:cubicBezTo>
                  <a:pt x="40" y="20"/>
                  <a:pt x="39" y="22"/>
                  <a:pt x="38" y="23"/>
                </a:cubicBezTo>
                <a:cubicBezTo>
                  <a:pt x="38" y="24"/>
                  <a:pt x="39" y="25"/>
                  <a:pt x="39" y="26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27"/>
                  <a:pt x="45" y="27"/>
                  <a:pt x="45" y="28"/>
                </a:cubicBezTo>
                <a:lnTo>
                  <a:pt x="45" y="35"/>
                </a:lnTo>
                <a:close/>
                <a:moveTo>
                  <a:pt x="23" y="22"/>
                </a:moveTo>
                <a:cubicBezTo>
                  <a:pt x="18" y="22"/>
                  <a:pt x="13" y="26"/>
                  <a:pt x="13" y="31"/>
                </a:cubicBezTo>
                <a:cubicBezTo>
                  <a:pt x="13" y="36"/>
                  <a:pt x="18" y="40"/>
                  <a:pt x="23" y="40"/>
                </a:cubicBezTo>
                <a:cubicBezTo>
                  <a:pt x="28" y="40"/>
                  <a:pt x="32" y="36"/>
                  <a:pt x="32" y="31"/>
                </a:cubicBezTo>
                <a:cubicBezTo>
                  <a:pt x="32" y="26"/>
                  <a:pt x="28" y="22"/>
                  <a:pt x="23" y="22"/>
                </a:cubicBezTo>
                <a:close/>
                <a:moveTo>
                  <a:pt x="68" y="15"/>
                </a:moveTo>
                <a:cubicBezTo>
                  <a:pt x="68" y="16"/>
                  <a:pt x="64" y="16"/>
                  <a:pt x="63" y="16"/>
                </a:cubicBezTo>
                <a:cubicBezTo>
                  <a:pt x="63" y="17"/>
                  <a:pt x="62" y="18"/>
                  <a:pt x="62" y="18"/>
                </a:cubicBezTo>
                <a:cubicBezTo>
                  <a:pt x="62" y="19"/>
                  <a:pt x="64" y="23"/>
                  <a:pt x="64" y="23"/>
                </a:cubicBezTo>
                <a:cubicBezTo>
                  <a:pt x="64" y="23"/>
                  <a:pt x="64" y="23"/>
                  <a:pt x="64" y="24"/>
                </a:cubicBezTo>
                <a:cubicBezTo>
                  <a:pt x="63" y="24"/>
                  <a:pt x="59" y="26"/>
                  <a:pt x="59" y="26"/>
                </a:cubicBezTo>
                <a:cubicBezTo>
                  <a:pt x="59" y="26"/>
                  <a:pt x="56" y="22"/>
                  <a:pt x="56" y="22"/>
                </a:cubicBezTo>
                <a:cubicBezTo>
                  <a:pt x="55" y="22"/>
                  <a:pt x="55" y="22"/>
                  <a:pt x="55" y="22"/>
                </a:cubicBezTo>
                <a:cubicBezTo>
                  <a:pt x="54" y="22"/>
                  <a:pt x="54" y="22"/>
                  <a:pt x="54" y="22"/>
                </a:cubicBezTo>
                <a:cubicBezTo>
                  <a:pt x="53" y="22"/>
                  <a:pt x="50" y="26"/>
                  <a:pt x="50" y="26"/>
                </a:cubicBezTo>
                <a:cubicBezTo>
                  <a:pt x="50" y="26"/>
                  <a:pt x="46" y="24"/>
                  <a:pt x="46" y="24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7" y="19"/>
                  <a:pt x="47" y="18"/>
                </a:cubicBezTo>
                <a:cubicBezTo>
                  <a:pt x="47" y="18"/>
                  <a:pt x="46" y="17"/>
                  <a:pt x="46" y="16"/>
                </a:cubicBezTo>
                <a:cubicBezTo>
                  <a:pt x="45" y="16"/>
                  <a:pt x="41" y="16"/>
                  <a:pt x="41" y="15"/>
                </a:cubicBezTo>
                <a:cubicBezTo>
                  <a:pt x="41" y="10"/>
                  <a:pt x="41" y="10"/>
                  <a:pt x="41" y="10"/>
                </a:cubicBezTo>
                <a:cubicBezTo>
                  <a:pt x="41" y="10"/>
                  <a:pt x="45" y="9"/>
                  <a:pt x="46" y="9"/>
                </a:cubicBezTo>
                <a:cubicBezTo>
                  <a:pt x="46" y="9"/>
                  <a:pt x="47" y="8"/>
                  <a:pt x="47" y="7"/>
                </a:cubicBezTo>
                <a:cubicBezTo>
                  <a:pt x="47" y="7"/>
                  <a:pt x="45" y="3"/>
                  <a:pt x="45" y="2"/>
                </a:cubicBezTo>
                <a:cubicBezTo>
                  <a:pt x="45" y="2"/>
                  <a:pt x="45" y="2"/>
                  <a:pt x="46" y="2"/>
                </a:cubicBezTo>
                <a:cubicBezTo>
                  <a:pt x="46" y="2"/>
                  <a:pt x="50" y="0"/>
                  <a:pt x="50" y="0"/>
                </a:cubicBezTo>
                <a:cubicBezTo>
                  <a:pt x="50" y="0"/>
                  <a:pt x="53" y="3"/>
                  <a:pt x="54" y="4"/>
                </a:cubicBezTo>
                <a:cubicBezTo>
                  <a:pt x="54" y="4"/>
                  <a:pt x="54" y="4"/>
                  <a:pt x="55" y="4"/>
                </a:cubicBezTo>
                <a:cubicBezTo>
                  <a:pt x="55" y="4"/>
                  <a:pt x="55" y="4"/>
                  <a:pt x="56" y="4"/>
                </a:cubicBezTo>
                <a:cubicBezTo>
                  <a:pt x="57" y="2"/>
                  <a:pt x="58" y="1"/>
                  <a:pt x="59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59" y="0"/>
                  <a:pt x="63" y="2"/>
                  <a:pt x="64" y="2"/>
                </a:cubicBezTo>
                <a:cubicBezTo>
                  <a:pt x="64" y="2"/>
                  <a:pt x="64" y="2"/>
                  <a:pt x="64" y="2"/>
                </a:cubicBezTo>
                <a:cubicBezTo>
                  <a:pt x="64" y="3"/>
                  <a:pt x="62" y="7"/>
                  <a:pt x="62" y="7"/>
                </a:cubicBezTo>
                <a:cubicBezTo>
                  <a:pt x="62" y="8"/>
                  <a:pt x="63" y="9"/>
                  <a:pt x="63" y="9"/>
                </a:cubicBezTo>
                <a:cubicBezTo>
                  <a:pt x="64" y="9"/>
                  <a:pt x="68" y="10"/>
                  <a:pt x="68" y="10"/>
                </a:cubicBezTo>
                <a:lnTo>
                  <a:pt x="68" y="15"/>
                </a:lnTo>
                <a:close/>
                <a:moveTo>
                  <a:pt x="68" y="52"/>
                </a:moveTo>
                <a:cubicBezTo>
                  <a:pt x="68" y="52"/>
                  <a:pt x="64" y="53"/>
                  <a:pt x="63" y="53"/>
                </a:cubicBezTo>
                <a:cubicBezTo>
                  <a:pt x="63" y="54"/>
                  <a:pt x="62" y="54"/>
                  <a:pt x="62" y="55"/>
                </a:cubicBezTo>
                <a:cubicBezTo>
                  <a:pt x="62" y="56"/>
                  <a:pt x="64" y="59"/>
                  <a:pt x="64" y="60"/>
                </a:cubicBezTo>
                <a:cubicBezTo>
                  <a:pt x="64" y="60"/>
                  <a:pt x="64" y="60"/>
                  <a:pt x="64" y="60"/>
                </a:cubicBezTo>
                <a:cubicBezTo>
                  <a:pt x="63" y="60"/>
                  <a:pt x="59" y="63"/>
                  <a:pt x="59" y="63"/>
                </a:cubicBezTo>
                <a:cubicBezTo>
                  <a:pt x="59" y="63"/>
                  <a:pt x="56" y="59"/>
                  <a:pt x="56" y="59"/>
                </a:cubicBezTo>
                <a:cubicBezTo>
                  <a:pt x="55" y="59"/>
                  <a:pt x="55" y="59"/>
                  <a:pt x="55" y="59"/>
                </a:cubicBezTo>
                <a:cubicBezTo>
                  <a:pt x="54" y="59"/>
                  <a:pt x="54" y="59"/>
                  <a:pt x="54" y="59"/>
                </a:cubicBezTo>
                <a:cubicBezTo>
                  <a:pt x="53" y="59"/>
                  <a:pt x="50" y="63"/>
                  <a:pt x="50" y="63"/>
                </a:cubicBezTo>
                <a:cubicBezTo>
                  <a:pt x="50" y="63"/>
                  <a:pt x="46" y="60"/>
                  <a:pt x="46" y="60"/>
                </a:cubicBezTo>
                <a:cubicBezTo>
                  <a:pt x="45" y="60"/>
                  <a:pt x="45" y="60"/>
                  <a:pt x="45" y="60"/>
                </a:cubicBezTo>
                <a:cubicBezTo>
                  <a:pt x="45" y="59"/>
                  <a:pt x="47" y="56"/>
                  <a:pt x="47" y="55"/>
                </a:cubicBezTo>
                <a:cubicBezTo>
                  <a:pt x="47" y="54"/>
                  <a:pt x="46" y="54"/>
                  <a:pt x="46" y="53"/>
                </a:cubicBezTo>
                <a:cubicBezTo>
                  <a:pt x="45" y="53"/>
                  <a:pt x="41" y="52"/>
                  <a:pt x="41" y="52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6"/>
                  <a:pt x="45" y="46"/>
                  <a:pt x="46" y="46"/>
                </a:cubicBezTo>
                <a:cubicBezTo>
                  <a:pt x="46" y="45"/>
                  <a:pt x="47" y="45"/>
                  <a:pt x="47" y="44"/>
                </a:cubicBezTo>
                <a:cubicBezTo>
                  <a:pt x="47" y="43"/>
                  <a:pt x="45" y="40"/>
                  <a:pt x="45" y="39"/>
                </a:cubicBezTo>
                <a:cubicBezTo>
                  <a:pt x="45" y="39"/>
                  <a:pt x="45" y="39"/>
                  <a:pt x="46" y="39"/>
                </a:cubicBezTo>
                <a:cubicBezTo>
                  <a:pt x="46" y="39"/>
                  <a:pt x="50" y="36"/>
                  <a:pt x="50" y="36"/>
                </a:cubicBezTo>
                <a:cubicBezTo>
                  <a:pt x="50" y="36"/>
                  <a:pt x="53" y="40"/>
                  <a:pt x="54" y="40"/>
                </a:cubicBezTo>
                <a:cubicBezTo>
                  <a:pt x="54" y="40"/>
                  <a:pt x="54" y="40"/>
                  <a:pt x="55" y="40"/>
                </a:cubicBezTo>
                <a:cubicBezTo>
                  <a:pt x="55" y="40"/>
                  <a:pt x="55" y="40"/>
                  <a:pt x="56" y="40"/>
                </a:cubicBezTo>
                <a:cubicBezTo>
                  <a:pt x="57" y="39"/>
                  <a:pt x="58" y="38"/>
                  <a:pt x="59" y="36"/>
                </a:cubicBezTo>
                <a:cubicBezTo>
                  <a:pt x="59" y="36"/>
                  <a:pt x="59" y="36"/>
                  <a:pt x="59" y="36"/>
                </a:cubicBezTo>
                <a:cubicBezTo>
                  <a:pt x="59" y="36"/>
                  <a:pt x="63" y="39"/>
                  <a:pt x="64" y="39"/>
                </a:cubicBezTo>
                <a:cubicBezTo>
                  <a:pt x="64" y="39"/>
                  <a:pt x="64" y="39"/>
                  <a:pt x="64" y="39"/>
                </a:cubicBezTo>
                <a:cubicBezTo>
                  <a:pt x="64" y="40"/>
                  <a:pt x="62" y="43"/>
                  <a:pt x="62" y="44"/>
                </a:cubicBezTo>
                <a:cubicBezTo>
                  <a:pt x="62" y="45"/>
                  <a:pt x="63" y="45"/>
                  <a:pt x="63" y="46"/>
                </a:cubicBezTo>
                <a:cubicBezTo>
                  <a:pt x="64" y="46"/>
                  <a:pt x="68" y="46"/>
                  <a:pt x="68" y="47"/>
                </a:cubicBezTo>
                <a:lnTo>
                  <a:pt x="68" y="52"/>
                </a:lnTo>
                <a:close/>
                <a:moveTo>
                  <a:pt x="55" y="8"/>
                </a:moveTo>
                <a:cubicBezTo>
                  <a:pt x="52" y="8"/>
                  <a:pt x="50" y="10"/>
                  <a:pt x="50" y="13"/>
                </a:cubicBezTo>
                <a:cubicBezTo>
                  <a:pt x="50" y="15"/>
                  <a:pt x="52" y="17"/>
                  <a:pt x="55" y="17"/>
                </a:cubicBezTo>
                <a:cubicBezTo>
                  <a:pt x="57" y="17"/>
                  <a:pt x="59" y="15"/>
                  <a:pt x="59" y="13"/>
                </a:cubicBezTo>
                <a:cubicBezTo>
                  <a:pt x="59" y="10"/>
                  <a:pt x="57" y="8"/>
                  <a:pt x="55" y="8"/>
                </a:cubicBezTo>
                <a:close/>
                <a:moveTo>
                  <a:pt x="55" y="45"/>
                </a:moveTo>
                <a:cubicBezTo>
                  <a:pt x="52" y="45"/>
                  <a:pt x="50" y="47"/>
                  <a:pt x="50" y="49"/>
                </a:cubicBezTo>
                <a:cubicBezTo>
                  <a:pt x="50" y="52"/>
                  <a:pt x="52" y="54"/>
                  <a:pt x="55" y="54"/>
                </a:cubicBezTo>
                <a:cubicBezTo>
                  <a:pt x="57" y="54"/>
                  <a:pt x="59" y="52"/>
                  <a:pt x="59" y="49"/>
                </a:cubicBezTo>
                <a:cubicBezTo>
                  <a:pt x="59" y="47"/>
                  <a:pt x="57" y="45"/>
                  <a:pt x="55" y="4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21" name="AutoShape 6" descr="трактор, компьютерные иконки, сельское хозяйство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3650486928"/>
              </p:ext>
            </p:extLst>
          </p:nvPr>
        </p:nvGraphicFramePr>
        <p:xfrm>
          <a:off x="1768708" y="1214621"/>
          <a:ext cx="3265385" cy="19405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2" name="Заголовок 1"/>
          <p:cNvSpPr txBox="1">
            <a:spLocks/>
          </p:cNvSpPr>
          <p:nvPr/>
        </p:nvSpPr>
        <p:spPr>
          <a:xfrm>
            <a:off x="598381" y="4993641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 smtClean="0">
                <a:solidFill>
                  <a:schemeClr val="bg1">
                    <a:lumMod val="75000"/>
                  </a:schemeClr>
                </a:solidFill>
              </a:rPr>
              <a:t>exp</a:t>
            </a:r>
            <a:r>
              <a:rPr lang="en-US" sz="1800" b="1" dirty="0" smtClean="0">
                <a:solidFill>
                  <a:schemeClr val="bg1">
                    <a:lumMod val="75000"/>
                  </a:schemeClr>
                </a:solidFill>
              </a:rPr>
              <a:t>ort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3" name="Заголовок 1"/>
          <p:cNvSpPr txBox="1">
            <a:spLocks/>
          </p:cNvSpPr>
          <p:nvPr/>
        </p:nvSpPr>
        <p:spPr>
          <a:xfrm>
            <a:off x="5239092" y="4956998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 smtClean="0">
                <a:solidFill>
                  <a:schemeClr val="bg1">
                    <a:lumMod val="75000"/>
                  </a:schemeClr>
                </a:solidFill>
              </a:rPr>
              <a:t>import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4" name="Заголовок 1"/>
          <p:cNvSpPr txBox="1">
            <a:spLocks/>
          </p:cNvSpPr>
          <p:nvPr/>
        </p:nvSpPr>
        <p:spPr>
          <a:xfrm>
            <a:off x="0" y="3536267"/>
            <a:ext cx="2323920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200" b="1" dirty="0">
                <a:solidFill>
                  <a:schemeClr val="accent1"/>
                </a:solidFill>
              </a:rPr>
              <a:t>$</a:t>
            </a:r>
            <a:r>
              <a:rPr lang="ru-RU" sz="3200" b="1" dirty="0">
                <a:solidFill>
                  <a:schemeClr val="accent1"/>
                </a:solidFill>
              </a:rPr>
              <a:t>63,8</a:t>
            </a:r>
          </a:p>
          <a:p>
            <a:pPr algn="ctr"/>
            <a:r>
              <a:rPr lang="kk-KZ" sz="1400" b="1" dirty="0" smtClean="0">
                <a:solidFill>
                  <a:schemeClr val="bg1">
                    <a:lumMod val="75000"/>
                  </a:schemeClr>
                </a:solidFill>
              </a:rPr>
              <a:t>М</a:t>
            </a:r>
            <a:r>
              <a:rPr lang="en-US" sz="1400" b="1" dirty="0" err="1" smtClean="0">
                <a:solidFill>
                  <a:schemeClr val="bg1">
                    <a:lumMod val="75000"/>
                  </a:schemeClr>
                </a:solidFill>
              </a:rPr>
              <a:t>io</a:t>
            </a:r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.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5" name="Заголовок 1"/>
          <p:cNvSpPr txBox="1">
            <a:spLocks/>
          </p:cNvSpPr>
          <p:nvPr/>
        </p:nvSpPr>
        <p:spPr>
          <a:xfrm>
            <a:off x="4935211" y="3522436"/>
            <a:ext cx="1955168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1"/>
                </a:solidFill>
              </a:rPr>
              <a:t>$</a:t>
            </a:r>
            <a:r>
              <a:rPr lang="ru-RU" sz="3200" b="1" dirty="0">
                <a:solidFill>
                  <a:schemeClr val="accent1"/>
                </a:solidFill>
              </a:rPr>
              <a:t>1 834 </a:t>
            </a:r>
          </a:p>
          <a:p>
            <a:pPr algn="ctr"/>
            <a:r>
              <a:rPr lang="ru-RU" sz="1400" b="1" dirty="0" smtClean="0">
                <a:solidFill>
                  <a:schemeClr val="bg1">
                    <a:lumMod val="75000"/>
                  </a:schemeClr>
                </a:solidFill>
              </a:rPr>
              <a:t>М</a:t>
            </a:r>
            <a:r>
              <a:rPr lang="en-US" sz="1400" b="1" dirty="0" err="1" smtClean="0">
                <a:solidFill>
                  <a:schemeClr val="bg1">
                    <a:lumMod val="75000"/>
                  </a:schemeClr>
                </a:solidFill>
              </a:rPr>
              <a:t>io</a:t>
            </a:r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.</a:t>
            </a:r>
            <a:endParaRPr lang="ru-RU" sz="1400" b="1" dirty="0">
              <a:solidFill>
                <a:schemeClr val="bg1">
                  <a:lumMod val="75000"/>
                </a:schemeClr>
              </a:solidFill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0A21DCB1-23DA-4DAD-88B2-58748FBECE74}"/>
              </a:ext>
            </a:extLst>
          </p:cNvPr>
          <p:cNvGrpSpPr/>
          <p:nvPr/>
        </p:nvGrpSpPr>
        <p:grpSpPr>
          <a:xfrm>
            <a:off x="5123284" y="4048848"/>
            <a:ext cx="1317448" cy="689122"/>
            <a:chOff x="5054306" y="3660756"/>
            <a:chExt cx="1317448" cy="689122"/>
          </a:xfrm>
        </p:grpSpPr>
        <p:pic>
          <p:nvPicPr>
            <p:cNvPr id="158" name="Picture 32" descr="Картинки по запросу &quot;россия  флаг круглый без фона&quot;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2535" b="90282" l="9842" r="88574"/>
                      </a14:imgEffect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584" t="2817" r="1584" b="-2817"/>
            <a:stretch/>
          </p:blipFill>
          <p:spPr bwMode="auto">
            <a:xfrm>
              <a:off x="5861726" y="3834460"/>
              <a:ext cx="510028" cy="5100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9" name="Рисунок 158"/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10000" b="90000" l="10000" r="90000"/>
                      </a14:imgEffect>
                      <a14:imgEffect>
                        <a14:saturation sat="66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445360" y="3660756"/>
              <a:ext cx="556355" cy="518552"/>
            </a:xfrm>
            <a:prstGeom prst="rect">
              <a:avLst/>
            </a:prstGeom>
          </p:spPr>
        </p:pic>
        <p:pic>
          <p:nvPicPr>
            <p:cNvPr id="1086" name="Picture 62" descr="Картинки по запросу &quot;турция флаг круглый&quot;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10000" b="90000" l="10000" r="90000">
                          <a14:foregroundMark x1="33250" y1="32875" x2="33250" y2="32875"/>
                          <a14:foregroundMark x1="29250" y1="38500" x2="29250" y2="38500"/>
                          <a14:foregroundMark x1="21500" y1="41625" x2="21250" y2="55875"/>
                          <a14:foregroundMark x1="24875" y1="55125" x2="37625" y2="75000"/>
                          <a14:foregroundMark x1="31500" y1="35000" x2="23875" y2="45000"/>
                          <a14:foregroundMark x1="55500" y1="48250" x2="58500" y2="57750"/>
                          <a14:foregroundMark x1="34250" y1="33500" x2="48875" y2="33250"/>
                        </a14:backgroundRemoval>
                      </a14:imgEffect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54306" y="3838202"/>
              <a:ext cx="511676" cy="5116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25" name="Прямая соединительная линия 24"/>
          <p:cNvCxnSpPr/>
          <p:nvPr/>
        </p:nvCxnSpPr>
        <p:spPr>
          <a:xfrm>
            <a:off x="712376" y="5868144"/>
            <a:ext cx="568863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7693" y="12256"/>
            <a:ext cx="1758115" cy="346338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</p:pic>
      <p:sp>
        <p:nvSpPr>
          <p:cNvPr id="55" name="Прямоугольник 54"/>
          <p:cNvSpPr/>
          <p:nvPr/>
        </p:nvSpPr>
        <p:spPr>
          <a:xfrm>
            <a:off x="4763" y="8747301"/>
            <a:ext cx="6845808" cy="396699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solidFill>
              <a:srgbClr val="0D42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000" dirty="0">
                <a:solidFill>
                  <a:prstClr val="white"/>
                </a:solidFill>
              </a:rPr>
              <a:t>"Kazakhstan Center of Industry and Export "</a:t>
            </a:r>
            <a:r>
              <a:rPr lang="en-US" sz="1000" dirty="0" err="1">
                <a:solidFill>
                  <a:prstClr val="white"/>
                </a:solidFill>
              </a:rPr>
              <a:t>QazIndustry</a:t>
            </a:r>
            <a:r>
              <a:rPr lang="en-US" sz="1000" dirty="0">
                <a:solidFill>
                  <a:prstClr val="white"/>
                </a:solidFill>
              </a:rPr>
              <a:t>“ JSC</a:t>
            </a:r>
            <a:endParaRPr lang="ru-RU" sz="1000" dirty="0">
              <a:solidFill>
                <a:prstClr val="white"/>
              </a:solidFill>
            </a:endParaRPr>
          </a:p>
          <a:p>
            <a:pPr lvl="0" algn="just">
              <a:defRPr/>
            </a:pPr>
            <a:r>
              <a:rPr lang="en-US" sz="1000" dirty="0" err="1">
                <a:solidFill>
                  <a:prstClr val="white"/>
                </a:solidFill>
              </a:rPr>
              <a:t>RoK</a:t>
            </a:r>
            <a:r>
              <a:rPr lang="ru-RU" sz="1000" dirty="0">
                <a:solidFill>
                  <a:prstClr val="white"/>
                </a:solidFill>
              </a:rPr>
              <a:t>, 010000  </a:t>
            </a:r>
            <a:r>
              <a:rPr lang="en-US" sz="1000" dirty="0" err="1">
                <a:solidFill>
                  <a:prstClr val="white"/>
                </a:solidFill>
              </a:rPr>
              <a:t>Nur</a:t>
            </a:r>
            <a:r>
              <a:rPr lang="ru-RU" sz="1000" dirty="0">
                <a:solidFill>
                  <a:prstClr val="white"/>
                </a:solidFill>
              </a:rPr>
              <a:t>-</a:t>
            </a:r>
            <a:r>
              <a:rPr lang="en-US" sz="1000" dirty="0">
                <a:solidFill>
                  <a:prstClr val="white"/>
                </a:solidFill>
              </a:rPr>
              <a:t>Sultan</a:t>
            </a:r>
            <a:r>
              <a:rPr lang="ru-RU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Kabanbay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Baty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av</a:t>
            </a:r>
            <a:r>
              <a:rPr lang="ru-RU" sz="1000" dirty="0">
                <a:solidFill>
                  <a:prstClr val="white"/>
                </a:solidFill>
              </a:rPr>
              <a:t>, 17, </a:t>
            </a:r>
            <a:r>
              <a:rPr lang="en-US" sz="1000" dirty="0">
                <a:solidFill>
                  <a:prstClr val="white"/>
                </a:solidFill>
              </a:rPr>
              <a:t>phone</a:t>
            </a:r>
            <a:r>
              <a:rPr lang="ru-RU" sz="1000">
                <a:solidFill>
                  <a:prstClr val="white"/>
                </a:solidFill>
              </a:rPr>
              <a:t>: +7 (7172) 79 33 90 www.qazindustry.gov.kz</a:t>
            </a:r>
            <a:endParaRPr lang="ru-RU" sz="1000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99B15B05-C3BD-46FA-BFBC-2F3BB34256AB}"/>
              </a:ext>
            </a:extLst>
          </p:cNvPr>
          <p:cNvSpPr/>
          <p:nvPr/>
        </p:nvSpPr>
        <p:spPr>
          <a:xfrm>
            <a:off x="4041072" y="1324480"/>
            <a:ext cx="792079" cy="167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bg1">
                    <a:lumMod val="85000"/>
                  </a:schemeClr>
                </a:solidFill>
                <a:latin typeface="+mj-lt"/>
                <a:cs typeface="Arial" panose="020B0604020202020204" pitchFamily="34" charset="0"/>
              </a:rPr>
              <a:t>млрд тг</a:t>
            </a: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xmlns="" id="{3BDBF2B2-24FD-4AC2-9197-448995F74F5A}"/>
              </a:ext>
            </a:extLst>
          </p:cNvPr>
          <p:cNvGrpSpPr/>
          <p:nvPr/>
        </p:nvGrpSpPr>
        <p:grpSpPr>
          <a:xfrm>
            <a:off x="497681" y="4090801"/>
            <a:ext cx="1372927" cy="1044663"/>
            <a:chOff x="466102" y="3759486"/>
            <a:chExt cx="1372927" cy="1044663"/>
          </a:xfrm>
        </p:grpSpPr>
        <p:pic>
          <p:nvPicPr>
            <p:cNvPr id="1056" name="Picture 32" descr="Картинки по запросу &quot;россия  флаг круглый без фона&quot;"/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ackgroundRemoval t="12535" b="90282" l="9842" r="88574"/>
                      </a14:imgEffect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584" t="2817" r="1584" b="-2817"/>
            <a:stretch/>
          </p:blipFill>
          <p:spPr bwMode="auto">
            <a:xfrm>
              <a:off x="889457" y="3759486"/>
              <a:ext cx="505240" cy="505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" name="Picture 2" descr="Картинки по запросу &quot;пьедестал 1-3 место белый фон png&quot;">
              <a:extLst>
                <a:ext uri="{FF2B5EF4-FFF2-40B4-BE49-F238E27FC236}">
                  <a16:creationId xmlns:a16="http://schemas.microsoft.com/office/drawing/2014/main" xmlns="" id="{F2771AAD-7491-463C-90E1-BF57595812D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ackgroundRemoval t="46757" b="94084" l="10000" r="90000"/>
                      </a14:imgEffect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3161" t="40841" r="-144"/>
            <a:stretch/>
          </p:blipFill>
          <p:spPr bwMode="auto">
            <a:xfrm>
              <a:off x="466102" y="4168072"/>
              <a:ext cx="1372927" cy="6360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6" name="Picture 2" descr="Картинки по запросу &quot;пьедестал 1-3 место белый фон png&quot;">
            <a:extLst>
              <a:ext uri="{FF2B5EF4-FFF2-40B4-BE49-F238E27FC236}">
                <a16:creationId xmlns:a16="http://schemas.microsoft.com/office/drawing/2014/main" xmlns="" id="{2EA6AF33-BC09-4EBF-91B9-20B760E3C8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46757" b="94084" l="10000" r="900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3161" t="40841" r="-144"/>
          <a:stretch/>
        </p:blipFill>
        <p:spPr bwMode="auto">
          <a:xfrm>
            <a:off x="5082560" y="4511299"/>
            <a:ext cx="1372927" cy="636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7" name="Группа 56">
            <a:extLst>
              <a:ext uri="{FF2B5EF4-FFF2-40B4-BE49-F238E27FC236}">
                <a16:creationId xmlns:a16="http://schemas.microsoft.com/office/drawing/2014/main" xmlns="" id="{5D74D543-85C3-46E0-8960-9A2180BD3528}"/>
              </a:ext>
            </a:extLst>
          </p:cNvPr>
          <p:cNvGrpSpPr/>
          <p:nvPr/>
        </p:nvGrpSpPr>
        <p:grpSpPr>
          <a:xfrm>
            <a:off x="2040044" y="3359401"/>
            <a:ext cx="2397068" cy="1745703"/>
            <a:chOff x="460038" y="2336320"/>
            <a:chExt cx="3277730" cy="2280740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58" name="Halbbogen 101">
              <a:extLst>
                <a:ext uri="{FF2B5EF4-FFF2-40B4-BE49-F238E27FC236}">
                  <a16:creationId xmlns:a16="http://schemas.microsoft.com/office/drawing/2014/main" xmlns="" id="{5DA43406-419F-4E0D-A963-A67E976F48D2}"/>
                </a:ext>
              </a:extLst>
            </p:cNvPr>
            <p:cNvSpPr/>
            <p:nvPr/>
          </p:nvSpPr>
          <p:spPr bwMode="gray">
            <a:xfrm flipH="1">
              <a:off x="1457141" y="2396146"/>
              <a:ext cx="2280627" cy="2220914"/>
            </a:xfrm>
            <a:prstGeom prst="blockArc">
              <a:avLst>
                <a:gd name="adj1" fmla="val 20382810"/>
                <a:gd name="adj2" fmla="val 16356067"/>
                <a:gd name="adj3" fmla="val 14187"/>
              </a:avLst>
            </a:prstGeom>
            <a:solidFill>
              <a:schemeClr val="accent2">
                <a:lumMod val="75000"/>
              </a:schemeClr>
            </a:solidFill>
            <a:ln w="76200">
              <a:noFill/>
              <a:round/>
              <a:headEnd/>
              <a:tailEnd/>
            </a:ln>
            <a:effectLst>
              <a:innerShdw blurRad="38100" dist="12700" dir="135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Halbbogen 99">
              <a:extLst>
                <a:ext uri="{FF2B5EF4-FFF2-40B4-BE49-F238E27FC236}">
                  <a16:creationId xmlns:a16="http://schemas.microsoft.com/office/drawing/2014/main" xmlns="" id="{F24E6880-030E-4447-A562-66DE047119A5}"/>
                </a:ext>
              </a:extLst>
            </p:cNvPr>
            <p:cNvSpPr/>
            <p:nvPr/>
          </p:nvSpPr>
          <p:spPr bwMode="gray">
            <a:xfrm rot="21429041" flipH="1">
              <a:off x="1751162" y="2677181"/>
              <a:ext cx="1595351" cy="1446800"/>
            </a:xfrm>
            <a:prstGeom prst="blockArc">
              <a:avLst>
                <a:gd name="adj1" fmla="val 12571961"/>
                <a:gd name="adj2" fmla="val 15971119"/>
                <a:gd name="adj3" fmla="val 16822"/>
              </a:avLst>
            </a:prstGeom>
            <a:solidFill>
              <a:schemeClr val="bg1">
                <a:lumMod val="50000"/>
              </a:schemeClr>
            </a:solidFill>
            <a:ln w="76200">
              <a:noFill/>
              <a:round/>
              <a:headEnd/>
              <a:tailEnd/>
            </a:ln>
            <a:effectLst>
              <a:innerShdw blurRad="38100" dist="12700" dir="135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Textfeld 633">
              <a:extLst>
                <a:ext uri="{FF2B5EF4-FFF2-40B4-BE49-F238E27FC236}">
                  <a16:creationId xmlns:a16="http://schemas.microsoft.com/office/drawing/2014/main" xmlns="" id="{1D26315B-B3F9-4719-B6C3-991902CAFDE9}"/>
                </a:ext>
              </a:extLst>
            </p:cNvPr>
            <p:cNvSpPr txBox="1"/>
            <p:nvPr/>
          </p:nvSpPr>
          <p:spPr bwMode="gray">
            <a:xfrm>
              <a:off x="1484131" y="3307017"/>
              <a:ext cx="1900342" cy="528481"/>
            </a:xfrm>
            <a:prstGeom prst="rect">
              <a:avLst/>
            </a:prstGeom>
            <a:noFill/>
          </p:spPr>
          <p:txBody>
            <a:bodyPr wrap="square" lIns="72000" tIns="0" rIns="0" bIns="0" rtlCol="0" anchor="t" anchorCtr="0">
              <a:noAutofit/>
            </a:bodyPr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383"/>
                </a:spcAft>
                <a:defRPr/>
              </a:pPr>
              <a:r>
                <a:rPr lang="en-US" sz="2500" b="1" dirty="0">
                  <a:solidFill>
                    <a:schemeClr val="accent1"/>
                  </a:solidFill>
                  <a:latin typeface="+mj-lt"/>
                  <a:cs typeface="Arial" panose="020B0604020202020204" pitchFamily="34" charset="0"/>
                </a:rPr>
                <a:t>$</a:t>
              </a:r>
              <a:r>
                <a:rPr lang="ru-RU" sz="2500" b="1" dirty="0">
                  <a:solidFill>
                    <a:schemeClr val="accent1"/>
                  </a:solidFill>
                  <a:latin typeface="+mj-lt"/>
                  <a:cs typeface="Arial" panose="020B0604020202020204" pitchFamily="34" charset="0"/>
                </a:rPr>
                <a:t> 2 </a:t>
              </a:r>
            </a:p>
            <a:p>
              <a:pPr algn="ctr">
                <a:lnSpc>
                  <a:spcPct val="90000"/>
                </a:lnSpc>
                <a:spcAft>
                  <a:spcPts val="383"/>
                </a:spcAft>
                <a:defRPr/>
              </a:pPr>
              <a:r>
                <a:rPr lang="en-US" sz="1400" b="1" cap="all" dirty="0" err="1" smtClean="0">
                  <a:solidFill>
                    <a:schemeClr val="bg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bln</a:t>
              </a:r>
              <a:endParaRPr lang="de-DE" sz="1400" b="1" cap="all" dirty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endParaRPr>
            </a:p>
          </p:txBody>
        </p:sp>
        <p:grpSp>
          <p:nvGrpSpPr>
            <p:cNvPr id="61" name="Gruppieren 98">
              <a:extLst>
                <a:ext uri="{FF2B5EF4-FFF2-40B4-BE49-F238E27FC236}">
                  <a16:creationId xmlns:a16="http://schemas.microsoft.com/office/drawing/2014/main" xmlns="" id="{87143035-C289-4E8D-BF7B-0FE8E8610A85}"/>
                </a:ext>
              </a:extLst>
            </p:cNvPr>
            <p:cNvGrpSpPr/>
            <p:nvPr/>
          </p:nvGrpSpPr>
          <p:grpSpPr bwMode="gray">
            <a:xfrm>
              <a:off x="460038" y="2336320"/>
              <a:ext cx="2107189" cy="630752"/>
              <a:chOff x="1172664" y="2045636"/>
              <a:chExt cx="1353100" cy="430263"/>
            </a:xfrm>
          </p:grpSpPr>
          <p:sp>
            <p:nvSpPr>
              <p:cNvPr id="62" name="Textfeld 103">
                <a:extLst>
                  <a:ext uri="{FF2B5EF4-FFF2-40B4-BE49-F238E27FC236}">
                    <a16:creationId xmlns:a16="http://schemas.microsoft.com/office/drawing/2014/main" xmlns="" id="{CA61E8EE-6452-4FA1-8471-47F3DF721487}"/>
                  </a:ext>
                </a:extLst>
              </p:cNvPr>
              <p:cNvSpPr txBox="1"/>
              <p:nvPr/>
            </p:nvSpPr>
            <p:spPr bwMode="gray">
              <a:xfrm>
                <a:off x="1172664" y="2249606"/>
                <a:ext cx="1353100" cy="22629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 anchorCtr="0">
                <a:spAutoFit/>
              </a:bodyPr>
              <a:lstStyle>
                <a:defPPr>
                  <a:defRPr lang="en-US"/>
                </a:defPPr>
                <a:lvl1pPr marL="0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9155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83113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7466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16622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45778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74933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040895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33245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defRPr/>
                </a:pPr>
                <a:r>
                  <a:rPr lang="en-US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EXP.</a:t>
                </a:r>
                <a:r>
                  <a:rPr lang="ru-RU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 </a:t>
                </a:r>
                <a:r>
                  <a:rPr lang="ru-RU" sz="105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10</a:t>
                </a:r>
                <a:r>
                  <a:rPr lang="de-DE" sz="105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%</a:t>
                </a:r>
              </a:p>
            </p:txBody>
          </p:sp>
          <p:sp>
            <p:nvSpPr>
              <p:cNvPr id="63" name="Textfeld 102">
                <a:extLst>
                  <a:ext uri="{FF2B5EF4-FFF2-40B4-BE49-F238E27FC236}">
                    <a16:creationId xmlns:a16="http://schemas.microsoft.com/office/drawing/2014/main" xmlns="" id="{0CC5AF80-0C46-4F14-9BAE-E31CB8173957}"/>
                  </a:ext>
                </a:extLst>
              </p:cNvPr>
              <p:cNvSpPr txBox="1"/>
              <p:nvPr/>
            </p:nvSpPr>
            <p:spPr bwMode="gray">
              <a:xfrm>
                <a:off x="1300809" y="2045636"/>
                <a:ext cx="1224955" cy="22629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 anchorCtr="0">
                <a:spAutoFit/>
              </a:bodyPr>
              <a:lstStyle>
                <a:defPPr>
                  <a:defRPr lang="en-US"/>
                </a:defPPr>
                <a:lvl1pPr marL="0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9155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83113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7466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16622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45778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74933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040895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33245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defRPr/>
                </a:pPr>
                <a:r>
                  <a:rPr lang="en-US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Import</a:t>
                </a:r>
                <a:r>
                  <a:rPr lang="de-DE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 </a:t>
                </a:r>
                <a:r>
                  <a:rPr lang="ru-RU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90</a:t>
                </a:r>
                <a:r>
                  <a:rPr lang="de-DE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%</a:t>
                </a:r>
                <a:endParaRPr lang="de-DE" sz="1050" b="1" dirty="0">
                  <a:solidFill>
                    <a:schemeClr val="bg1">
                      <a:lumMod val="85000"/>
                    </a:schemeClr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4" name="Заголовок 1">
            <a:extLst>
              <a:ext uri="{FF2B5EF4-FFF2-40B4-BE49-F238E27FC236}">
                <a16:creationId xmlns:a16="http://schemas.microsoft.com/office/drawing/2014/main" xmlns="" id="{92D11628-858B-4B94-B151-9353759E8D3E}"/>
              </a:ext>
            </a:extLst>
          </p:cNvPr>
          <p:cNvSpPr txBox="1">
            <a:spLocks/>
          </p:cNvSpPr>
          <p:nvPr/>
        </p:nvSpPr>
        <p:spPr>
          <a:xfrm>
            <a:off x="3169385" y="5025563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 smtClean="0">
                <a:solidFill>
                  <a:schemeClr val="bg1">
                    <a:lumMod val="75000"/>
                  </a:schemeClr>
                </a:solidFill>
              </a:rPr>
              <a:t>market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xmlns="" id="{F09B19C6-2A5C-4BA6-9A92-209F0E593805}"/>
              </a:ext>
            </a:extLst>
          </p:cNvPr>
          <p:cNvCxnSpPr>
            <a:cxnSpLocks/>
          </p:cNvCxnSpPr>
          <p:nvPr/>
        </p:nvCxnSpPr>
        <p:spPr>
          <a:xfrm flipH="1">
            <a:off x="2314064" y="3301525"/>
            <a:ext cx="5435" cy="163051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xmlns="" id="{A45622AF-0166-4CCB-9BB4-3AEAA4464E89}"/>
              </a:ext>
            </a:extLst>
          </p:cNvPr>
          <p:cNvCxnSpPr>
            <a:cxnSpLocks/>
          </p:cNvCxnSpPr>
          <p:nvPr/>
        </p:nvCxnSpPr>
        <p:spPr>
          <a:xfrm flipH="1">
            <a:off x="4709620" y="3326061"/>
            <a:ext cx="5435" cy="163051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xmlns="" id="{F379B309-F190-455B-897F-1DAA77367879}"/>
              </a:ext>
            </a:extLst>
          </p:cNvPr>
          <p:cNvSpPr/>
          <p:nvPr/>
        </p:nvSpPr>
        <p:spPr>
          <a:xfrm>
            <a:off x="2498332" y="5543537"/>
            <a:ext cx="4418522" cy="3019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/>
              <a:t>Market, export and import data for January-October 2021</a:t>
            </a:r>
            <a:endParaRPr lang="ru-RU" sz="1000" dirty="0">
              <a:solidFill>
                <a:schemeClr val="bg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67" name="Заголовок 1">
            <a:extLst>
              <a:ext uri="{FF2B5EF4-FFF2-40B4-BE49-F238E27FC236}">
                <a16:creationId xmlns:a16="http://schemas.microsoft.com/office/drawing/2014/main" xmlns="" id="{CA5EE847-0A79-446D-B1AE-188C89BF85AC}"/>
              </a:ext>
            </a:extLst>
          </p:cNvPr>
          <p:cNvSpPr txBox="1">
            <a:spLocks/>
          </p:cNvSpPr>
          <p:nvPr/>
        </p:nvSpPr>
        <p:spPr>
          <a:xfrm>
            <a:off x="2886758" y="8042711"/>
            <a:ext cx="3708662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b="1" dirty="0">
                <a:solidFill>
                  <a:schemeClr val="bg1">
                    <a:lumMod val="75000"/>
                  </a:schemeClr>
                </a:solidFill>
              </a:rPr>
              <a:t>Производство в регионах</a:t>
            </a:r>
          </a:p>
        </p:txBody>
      </p:sp>
      <p:sp>
        <p:nvSpPr>
          <p:cNvPr id="71" name="Freeform 36">
            <a:extLst>
              <a:ext uri="{FF2B5EF4-FFF2-40B4-BE49-F238E27FC236}">
                <a16:creationId xmlns:a16="http://schemas.microsoft.com/office/drawing/2014/main" xmlns="" id="{11BC22F4-B9D1-47F5-AAC5-373C568FB4D8}"/>
              </a:ext>
            </a:extLst>
          </p:cNvPr>
          <p:cNvSpPr>
            <a:spLocks/>
          </p:cNvSpPr>
          <p:nvPr/>
        </p:nvSpPr>
        <p:spPr bwMode="auto">
          <a:xfrm>
            <a:off x="5457606" y="1538734"/>
            <a:ext cx="539974" cy="313063"/>
          </a:xfrm>
          <a:custGeom>
            <a:avLst/>
            <a:gdLst>
              <a:gd name="T0" fmla="*/ 2147483646 w 256"/>
              <a:gd name="T1" fmla="*/ 2147483646 h 128"/>
              <a:gd name="T2" fmla="*/ 2147483646 w 256"/>
              <a:gd name="T3" fmla="*/ 2147483646 h 128"/>
              <a:gd name="T4" fmla="*/ 2147483646 w 256"/>
              <a:gd name="T5" fmla="*/ 2147483646 h 128"/>
              <a:gd name="T6" fmla="*/ 2147483646 w 256"/>
              <a:gd name="T7" fmla="*/ 2147483646 h 128"/>
              <a:gd name="T8" fmla="*/ 2147483646 w 256"/>
              <a:gd name="T9" fmla="*/ 2147483646 h 128"/>
              <a:gd name="T10" fmla="*/ 2147483646 w 256"/>
              <a:gd name="T11" fmla="*/ 2147483646 h 128"/>
              <a:gd name="T12" fmla="*/ 2147483646 w 256"/>
              <a:gd name="T13" fmla="*/ 2147483646 h 128"/>
              <a:gd name="T14" fmla="*/ 2147483646 w 256"/>
              <a:gd name="T15" fmla="*/ 2147483646 h 128"/>
              <a:gd name="T16" fmla="*/ 2147483646 w 256"/>
              <a:gd name="T17" fmla="*/ 2147483646 h 128"/>
              <a:gd name="T18" fmla="*/ 2147483646 w 256"/>
              <a:gd name="T19" fmla="*/ 2147483646 h 128"/>
              <a:gd name="T20" fmla="*/ 0 w 256"/>
              <a:gd name="T21" fmla="*/ 2147483646 h 128"/>
              <a:gd name="T22" fmla="*/ 2147483646 w 256"/>
              <a:gd name="T23" fmla="*/ 2147483646 h 128"/>
              <a:gd name="T24" fmla="*/ 2147483646 w 256"/>
              <a:gd name="T25" fmla="*/ 2147483646 h 128"/>
              <a:gd name="T26" fmla="*/ 2147483646 w 256"/>
              <a:gd name="T27" fmla="*/ 2147483646 h 128"/>
              <a:gd name="T28" fmla="*/ 2147483646 w 256"/>
              <a:gd name="T29" fmla="*/ 2147483646 h 128"/>
              <a:gd name="T30" fmla="*/ 2147483646 w 256"/>
              <a:gd name="T31" fmla="*/ 2147483646 h 128"/>
              <a:gd name="T32" fmla="*/ 2147483646 w 256"/>
              <a:gd name="T33" fmla="*/ 2147483646 h 128"/>
              <a:gd name="T34" fmla="*/ 2147483646 w 256"/>
              <a:gd name="T35" fmla="*/ 2147483646 h 128"/>
              <a:gd name="T36" fmla="*/ 2147483646 w 256"/>
              <a:gd name="T37" fmla="*/ 2147483646 h 128"/>
              <a:gd name="T38" fmla="*/ 2147483646 w 256"/>
              <a:gd name="T39" fmla="*/ 2147483646 h 128"/>
              <a:gd name="T40" fmla="*/ 2147483646 w 256"/>
              <a:gd name="T41" fmla="*/ 2147483646 h 128"/>
              <a:gd name="T42" fmla="*/ 2147483646 w 256"/>
              <a:gd name="T43" fmla="*/ 2147483646 h 128"/>
              <a:gd name="T44" fmla="*/ 2147483646 w 256"/>
              <a:gd name="T45" fmla="*/ 0 h 128"/>
              <a:gd name="T46" fmla="*/ 2147483646 w 256"/>
              <a:gd name="T47" fmla="*/ 0 h 128"/>
              <a:gd name="T48" fmla="*/ 2147483646 w 256"/>
              <a:gd name="T49" fmla="*/ 2147483646 h 128"/>
              <a:gd name="T50" fmla="*/ 2147483646 w 256"/>
              <a:gd name="T51" fmla="*/ 2147483646 h 128"/>
              <a:gd name="T52" fmla="*/ 2147483646 w 256"/>
              <a:gd name="T53" fmla="*/ 2147483646 h 128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56" h="128">
                <a:moveTo>
                  <a:pt x="244" y="72"/>
                </a:moveTo>
                <a:cubicBezTo>
                  <a:pt x="237" y="72"/>
                  <a:pt x="232" y="67"/>
                  <a:pt x="232" y="60"/>
                </a:cubicBezTo>
                <a:cubicBezTo>
                  <a:pt x="232" y="41"/>
                  <a:pt x="232" y="41"/>
                  <a:pt x="232" y="41"/>
                </a:cubicBezTo>
                <a:cubicBezTo>
                  <a:pt x="172" y="101"/>
                  <a:pt x="172" y="101"/>
                  <a:pt x="172" y="101"/>
                </a:cubicBezTo>
                <a:cubicBezTo>
                  <a:pt x="148" y="124"/>
                  <a:pt x="148" y="124"/>
                  <a:pt x="148" y="124"/>
                </a:cubicBezTo>
                <a:cubicBezTo>
                  <a:pt x="146" y="127"/>
                  <a:pt x="143" y="128"/>
                  <a:pt x="140" y="128"/>
                </a:cubicBezTo>
                <a:cubicBezTo>
                  <a:pt x="137" y="128"/>
                  <a:pt x="134" y="127"/>
                  <a:pt x="132" y="124"/>
                </a:cubicBezTo>
                <a:cubicBezTo>
                  <a:pt x="76" y="69"/>
                  <a:pt x="76" y="69"/>
                  <a:pt x="76" y="69"/>
                </a:cubicBezTo>
                <a:cubicBezTo>
                  <a:pt x="20" y="124"/>
                  <a:pt x="20" y="124"/>
                  <a:pt x="20" y="124"/>
                </a:cubicBezTo>
                <a:cubicBezTo>
                  <a:pt x="18" y="127"/>
                  <a:pt x="15" y="128"/>
                  <a:pt x="12" y="128"/>
                </a:cubicBezTo>
                <a:cubicBezTo>
                  <a:pt x="5" y="128"/>
                  <a:pt x="0" y="123"/>
                  <a:pt x="0" y="116"/>
                </a:cubicBezTo>
                <a:cubicBezTo>
                  <a:pt x="0" y="113"/>
                  <a:pt x="1" y="110"/>
                  <a:pt x="4" y="108"/>
                </a:cubicBezTo>
                <a:cubicBezTo>
                  <a:pt x="68" y="44"/>
                  <a:pt x="68" y="44"/>
                  <a:pt x="68" y="44"/>
                </a:cubicBezTo>
                <a:cubicBezTo>
                  <a:pt x="70" y="41"/>
                  <a:pt x="73" y="40"/>
                  <a:pt x="76" y="40"/>
                </a:cubicBezTo>
                <a:cubicBezTo>
                  <a:pt x="79" y="40"/>
                  <a:pt x="82" y="41"/>
                  <a:pt x="84" y="44"/>
                </a:cubicBezTo>
                <a:cubicBezTo>
                  <a:pt x="140" y="99"/>
                  <a:pt x="140" y="99"/>
                  <a:pt x="140" y="99"/>
                </a:cubicBezTo>
                <a:cubicBezTo>
                  <a:pt x="155" y="84"/>
                  <a:pt x="155" y="84"/>
                  <a:pt x="155" y="84"/>
                </a:cubicBezTo>
                <a:cubicBezTo>
                  <a:pt x="157" y="82"/>
                  <a:pt x="157" y="82"/>
                  <a:pt x="157" y="82"/>
                </a:cubicBezTo>
                <a:cubicBezTo>
                  <a:pt x="164" y="76"/>
                  <a:pt x="164" y="76"/>
                  <a:pt x="164" y="76"/>
                </a:cubicBezTo>
                <a:cubicBezTo>
                  <a:pt x="215" y="24"/>
                  <a:pt x="215" y="24"/>
                  <a:pt x="215" y="24"/>
                </a:cubicBezTo>
                <a:cubicBezTo>
                  <a:pt x="196" y="24"/>
                  <a:pt x="196" y="24"/>
                  <a:pt x="196" y="24"/>
                </a:cubicBezTo>
                <a:cubicBezTo>
                  <a:pt x="189" y="24"/>
                  <a:pt x="184" y="19"/>
                  <a:pt x="184" y="12"/>
                </a:cubicBezTo>
                <a:cubicBezTo>
                  <a:pt x="184" y="5"/>
                  <a:pt x="189" y="0"/>
                  <a:pt x="196" y="0"/>
                </a:cubicBezTo>
                <a:cubicBezTo>
                  <a:pt x="244" y="0"/>
                  <a:pt x="244" y="0"/>
                  <a:pt x="244" y="0"/>
                </a:cubicBezTo>
                <a:cubicBezTo>
                  <a:pt x="251" y="0"/>
                  <a:pt x="256" y="5"/>
                  <a:pt x="256" y="12"/>
                </a:cubicBezTo>
                <a:cubicBezTo>
                  <a:pt x="256" y="60"/>
                  <a:pt x="256" y="60"/>
                  <a:pt x="256" y="60"/>
                </a:cubicBezTo>
                <a:cubicBezTo>
                  <a:pt x="256" y="67"/>
                  <a:pt x="251" y="72"/>
                  <a:pt x="244" y="72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70" name="Заголовок 1">
            <a:extLst>
              <a:ext uri="{FF2B5EF4-FFF2-40B4-BE49-F238E27FC236}">
                <a16:creationId xmlns:a16="http://schemas.microsoft.com/office/drawing/2014/main" xmlns="" id="{D49F1443-D799-436D-AE2F-F0960042AA83}"/>
              </a:ext>
            </a:extLst>
          </p:cNvPr>
          <p:cNvSpPr txBox="1">
            <a:spLocks/>
          </p:cNvSpPr>
          <p:nvPr/>
        </p:nvSpPr>
        <p:spPr>
          <a:xfrm>
            <a:off x="1262608" y="439210"/>
            <a:ext cx="4470648" cy="738083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2300" b="1" dirty="0" smtClean="0">
                <a:solidFill>
                  <a:schemeClr val="bg1"/>
                </a:solidFill>
              </a:rPr>
              <a:t>LIGHT </a:t>
            </a:r>
            <a:r>
              <a:rPr lang="de-DE" sz="2300" b="1" dirty="0" err="1" smtClean="0">
                <a:solidFill>
                  <a:schemeClr val="bg1"/>
                </a:solidFill>
              </a:rPr>
              <a:t>INDUSTRy</a:t>
            </a:r>
            <a:endParaRPr lang="ru-RU" sz="2300" b="1" dirty="0">
              <a:solidFill>
                <a:schemeClr val="bg1"/>
              </a:solidFill>
            </a:endParaRPr>
          </a:p>
          <a:p>
            <a:pPr algn="ctr"/>
            <a:r>
              <a:rPr lang="en-US" sz="1800" b="1" cap="none" dirty="0" smtClean="0">
                <a:solidFill>
                  <a:schemeClr val="bg1"/>
                </a:solidFill>
              </a:rPr>
              <a:t>January-November</a:t>
            </a:r>
            <a:r>
              <a:rPr lang="ru-RU" sz="1800" b="1" dirty="0" smtClean="0">
                <a:solidFill>
                  <a:schemeClr val="bg1"/>
                </a:solidFill>
              </a:rPr>
              <a:t> </a:t>
            </a:r>
            <a:r>
              <a:rPr lang="ru-RU" sz="1800" b="1" dirty="0">
                <a:solidFill>
                  <a:schemeClr val="bg1"/>
                </a:solidFill>
              </a:rPr>
              <a:t>202</a:t>
            </a:r>
            <a:r>
              <a:rPr lang="en-US" sz="1800" b="1" dirty="0" smtClean="0">
                <a:solidFill>
                  <a:schemeClr val="bg1"/>
                </a:solidFill>
              </a:rPr>
              <a:t>1</a:t>
            </a:r>
            <a:endParaRPr lang="ru-RU" sz="1800" b="1" dirty="0">
              <a:solidFill>
                <a:schemeClr val="bg1"/>
              </a:solidFill>
            </a:endParaRPr>
          </a:p>
        </p:txBody>
      </p:sp>
      <p:pic>
        <p:nvPicPr>
          <p:cNvPr id="1028" name="Picture 4" descr="флаг Литва Круглый лоснистый значок Иллюстрация вектора - иллюстрации  насчитывающей : 135441573">
            <a:extLst>
              <a:ext uri="{FF2B5EF4-FFF2-40B4-BE49-F238E27FC236}">
                <a16:creationId xmlns:a16="http://schemas.microsoft.com/office/drawing/2014/main" xmlns="" id="{D6FCB46A-3682-422B-B20E-2CE4BF3A8B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28" y="4255148"/>
            <a:ext cx="465088" cy="46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Рисунок 88">
            <a:extLst>
              <a:ext uri="{FF2B5EF4-FFF2-40B4-BE49-F238E27FC236}">
                <a16:creationId xmlns:a16="http://schemas.microsoft.com/office/drawing/2014/main" xmlns="" id="{600A27BC-5D56-4272-AEBD-7FE5D17FA71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86042" y="4191308"/>
            <a:ext cx="506709" cy="472279"/>
          </a:xfrm>
          <a:prstGeom prst="rect">
            <a:avLst/>
          </a:prstGeom>
        </p:spPr>
      </p:pic>
      <p:sp>
        <p:nvSpPr>
          <p:cNvPr id="72" name="Овал 71">
            <a:extLst>
              <a:ext uri="{FF2B5EF4-FFF2-40B4-BE49-F238E27FC236}">
                <a16:creationId xmlns:a16="http://schemas.microsoft.com/office/drawing/2014/main" xmlns="" id="{04E2C778-D33C-4EEA-9079-AB06EAAB5FDC}"/>
              </a:ext>
            </a:extLst>
          </p:cNvPr>
          <p:cNvSpPr/>
          <p:nvPr/>
        </p:nvSpPr>
        <p:spPr bwMode="auto">
          <a:xfrm>
            <a:off x="4965782" y="7943161"/>
            <a:ext cx="133035" cy="111901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ru-RU" sz="1050" dirty="0">
              <a:solidFill>
                <a:prstClr val="white"/>
              </a:solidFill>
            </a:endParaRPr>
          </a:p>
        </p:txBody>
      </p:sp>
      <p:sp>
        <p:nvSpPr>
          <p:cNvPr id="88" name="Text Box 23">
            <a:extLst>
              <a:ext uri="{FF2B5EF4-FFF2-40B4-BE49-F238E27FC236}">
                <a16:creationId xmlns:a16="http://schemas.microsoft.com/office/drawing/2014/main" xmlns="" id="{D2A24F21-8424-4BF9-BC82-7A26A815E78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104691" y="8004027"/>
            <a:ext cx="493726" cy="12311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lang="ru-RU" sz="800" b="1" u="sng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Шымкент</a:t>
            </a:r>
            <a:endParaRPr lang="en-US" sz="800" u="sng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91" name="Заголовок 1">
            <a:extLst>
              <a:ext uri="{FF2B5EF4-FFF2-40B4-BE49-F238E27FC236}">
                <a16:creationId xmlns:a16="http://schemas.microsoft.com/office/drawing/2014/main" xmlns="" id="{55628B0E-32CE-4C64-BA28-F0BD22889DB4}"/>
              </a:ext>
            </a:extLst>
          </p:cNvPr>
          <p:cNvSpPr txBox="1">
            <a:spLocks/>
          </p:cNvSpPr>
          <p:nvPr/>
        </p:nvSpPr>
        <p:spPr>
          <a:xfrm>
            <a:off x="4566491" y="5950464"/>
            <a:ext cx="1959210" cy="202189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00" b="1" dirty="0" err="1" smtClean="0">
                <a:solidFill>
                  <a:schemeClr val="bg1">
                    <a:lumMod val="85000"/>
                  </a:schemeClr>
                </a:solidFill>
              </a:rPr>
              <a:t>Bln</a:t>
            </a:r>
            <a:r>
              <a:rPr lang="en-US" sz="900" b="1" dirty="0" smtClean="0">
                <a:solidFill>
                  <a:schemeClr val="bg1">
                    <a:lumMod val="85000"/>
                  </a:schemeClr>
                </a:solidFill>
              </a:rPr>
              <a:t>, </a:t>
            </a:r>
            <a:r>
              <a:rPr lang="en-US" sz="900" b="1" dirty="0" err="1" smtClean="0">
                <a:solidFill>
                  <a:schemeClr val="bg1">
                    <a:lumMod val="85000"/>
                  </a:schemeClr>
                </a:solidFill>
              </a:rPr>
              <a:t>tg</a:t>
            </a:r>
            <a:endParaRPr lang="ru-RU" sz="900" b="1" dirty="0">
              <a:solidFill>
                <a:schemeClr val="bg1">
                  <a:lumMod val="85000"/>
                </a:schemeClr>
              </a:solidFill>
            </a:endParaRPr>
          </a:p>
        </p:txBody>
      </p:sp>
      <p:graphicFrame>
        <p:nvGraphicFramePr>
          <p:cNvPr id="90" name="Диаграмма 89">
            <a:extLst>
              <a:ext uri="{FF2B5EF4-FFF2-40B4-BE49-F238E27FC236}">
                <a16:creationId xmlns:a16="http://schemas.microsoft.com/office/drawing/2014/main" xmlns="" id="{5F99E1B1-7C5C-4400-AF16-F0B8983CA1D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1153358"/>
              </p:ext>
            </p:extLst>
          </p:nvPr>
        </p:nvGraphicFramePr>
        <p:xfrm>
          <a:off x="-717693" y="5877704"/>
          <a:ext cx="6510301" cy="30463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</p:spTree>
    <p:extLst>
      <p:ext uri="{BB962C8B-B14F-4D97-AF65-F5344CB8AC3E}">
        <p14:creationId xmlns:p14="http://schemas.microsoft.com/office/powerpoint/2010/main" val="3537698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xvGzokaE2xd5hI8.LP4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Сетка">
  <a:themeElements>
    <a:clrScheme name="Оранжевый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Сетка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Сетка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84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000000">
                <a:alpha val="5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25400" h="25400" prst="slope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28000"/>
                <a:satMod val="94000"/>
                <a:lumMod val="20000"/>
              </a:schemeClr>
              <a:schemeClr val="phClr">
                <a:tint val="94000"/>
                <a:shade val="84000"/>
                <a:satMod val="148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Mesh" id="{789EC3FE-34FD-429C-9918-760025E6C145}" vid="{B8BE45C0-8141-4D58-8C71-A009BC26FBBB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Сетка</Template>
  <TotalTime>1427</TotalTime>
  <Words>110</Words>
  <Application>Microsoft Office PowerPoint</Application>
  <PresentationFormat>Экран (4:3)</PresentationFormat>
  <Paragraphs>43</Paragraphs>
  <Slides>1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2" baseType="lpstr">
      <vt:lpstr>Сетка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ЗУЛЬТАТЫ ОБРАБАТЫВАЩЕЙ ПРОМЫШЛЕННОСТИ  ЗА 1 КВАРТАЛ 2020 ГОДА</dc:title>
  <dc:creator>Admin</dc:creator>
  <cp:lastModifiedBy>Sanzhar</cp:lastModifiedBy>
  <cp:revision>153</cp:revision>
  <dcterms:created xsi:type="dcterms:W3CDTF">2020-04-15T04:44:30Z</dcterms:created>
  <dcterms:modified xsi:type="dcterms:W3CDTF">2022-02-08T17:09:34Z</dcterms:modified>
</cp:coreProperties>
</file>